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3"/>
  </p:notesMasterIdLst>
  <p:sldIdLst>
    <p:sldId id="2147471791" r:id="rId2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E44939D3-9363-4124-B0A4-23F26689CCF4}">
          <p14:sldIdLst>
            <p14:sldId id="2147471791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4660"/>
  </p:normalViewPr>
  <p:slideViewPr>
    <p:cSldViewPr snapToGrid="0">
      <p:cViewPr varScale="1">
        <p:scale>
          <a:sx n="63" d="100"/>
          <a:sy n="63" d="100"/>
        </p:scale>
        <p:origin x="804" y="7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IN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826B112-B83C-49DF-8CB1-9D53140E6078}" type="datetimeFigureOut">
              <a:rPr lang="en-IN" smtClean="0"/>
              <a:t>28-02-2025</a:t>
            </a:fld>
            <a:endParaRPr lang="en-IN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IN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IN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932349B-292E-4243-9629-2CD81AA71865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40004998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3EB4A21-BFFC-48DD-B313-9CE62D045159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EYInterstate Light" panose="02000506000000020004" pitchFamily="2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EYInterstate Light" panose="02000506000000020004" pitchFamily="2" charset="0"/>
              <a:ea typeface="+mn-ea"/>
              <a:cs typeface="+mn-cs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0C92FC4-B81F-48D8-B70E-DC26D1A194D5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EYInterstate Light" panose="02000506000000020004" pitchFamily="2" charset="0"/>
                <a:ea typeface="+mn-ea"/>
                <a:cs typeface="+mn-cs"/>
              </a:rPr>
              <a:t>Go PH-Cloud Migration and Mange Service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EYInterstate Light" panose="02000506000000020004" pitchFamily="2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6766629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7386ECF2-B55D-4F20-9FEB-9C31613F1326}"/>
              </a:ext>
            </a:extLst>
          </p:cNvPr>
          <p:cNvSpPr/>
          <p:nvPr userDrawn="1"/>
        </p:nvSpPr>
        <p:spPr>
          <a:xfrm>
            <a:off x="0" y="-16992"/>
            <a:ext cx="12192000" cy="6874992"/>
          </a:xfrm>
          <a:prstGeom prst="rect">
            <a:avLst/>
          </a:prstGeo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6293A3E5-79CB-4DC9-B1C6-5F7F93CBA3C9}"/>
              </a:ext>
            </a:extLst>
          </p:cNvPr>
          <p:cNvSpPr/>
          <p:nvPr userDrawn="1"/>
        </p:nvSpPr>
        <p:spPr>
          <a:xfrm>
            <a:off x="0" y="2286595"/>
            <a:ext cx="12192000" cy="4569620"/>
          </a:xfrm>
          <a:prstGeom prst="rect">
            <a:avLst/>
          </a:prstGeom>
          <a:gradFill flip="none" rotWithShape="1">
            <a:gsLst>
              <a:gs pos="0">
                <a:schemeClr val="bg2">
                  <a:alpha val="0"/>
                </a:schemeClr>
              </a:gs>
              <a:gs pos="100000">
                <a:schemeClr val="bg2">
                  <a:alpha val="72000"/>
                </a:schemeClr>
              </a:gs>
            </a:gsLst>
            <a:lin ang="540000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 defTabSz="913943"/>
            <a:endParaRPr lang="en-IN" sz="1199">
              <a:solidFill>
                <a:srgbClr val="FFFFFF"/>
              </a:solidFill>
              <a:latin typeface="EYInterstate Light"/>
            </a:endParaRP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4AB8B1BB-1F11-49E0-A4BC-ABEDA0AD4B6C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0359392" y="4960141"/>
            <a:ext cx="1224912" cy="1434353"/>
            <a:chOff x="6529" y="3125"/>
            <a:chExt cx="772" cy="904"/>
          </a:xfrm>
        </p:grpSpPr>
        <p:sp>
          <p:nvSpPr>
            <p:cNvPr id="6" name="Freeform 5">
              <a:extLst>
                <a:ext uri="{FF2B5EF4-FFF2-40B4-BE49-F238E27FC236}">
                  <a16:creationId xmlns:a16="http://schemas.microsoft.com/office/drawing/2014/main" id="{75F07D14-E3D4-466C-BF57-62200B34B39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29" y="3125"/>
              <a:ext cx="619" cy="226"/>
            </a:xfrm>
            <a:custGeom>
              <a:avLst/>
              <a:gdLst>
                <a:gd name="T0" fmla="*/ 2473 w 2473"/>
                <a:gd name="T1" fmla="*/ 0 h 902"/>
                <a:gd name="T2" fmla="*/ 0 w 2473"/>
                <a:gd name="T3" fmla="*/ 902 h 902"/>
                <a:gd name="T4" fmla="*/ 2473 w 2473"/>
                <a:gd name="T5" fmla="*/ 466 h 902"/>
                <a:gd name="T6" fmla="*/ 2473 w 2473"/>
                <a:gd name="T7" fmla="*/ 0 h 9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73" h="902">
                  <a:moveTo>
                    <a:pt x="2473" y="0"/>
                  </a:moveTo>
                  <a:lnTo>
                    <a:pt x="0" y="902"/>
                  </a:lnTo>
                  <a:lnTo>
                    <a:pt x="2473" y="466"/>
                  </a:lnTo>
                  <a:lnTo>
                    <a:pt x="2473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913943"/>
              <a:endParaRPr lang="en-IN" sz="1799">
                <a:solidFill>
                  <a:srgbClr val="FFFFFF"/>
                </a:solidFill>
                <a:latin typeface="EYInterstate Light"/>
              </a:endParaRPr>
            </a:p>
          </p:txBody>
        </p:sp>
        <p:sp>
          <p:nvSpPr>
            <p:cNvPr id="7" name="Freeform 6">
              <a:extLst>
                <a:ext uri="{FF2B5EF4-FFF2-40B4-BE49-F238E27FC236}">
                  <a16:creationId xmlns:a16="http://schemas.microsoft.com/office/drawing/2014/main" id="{FD00EBB0-445D-4507-B021-8E98531CCB6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529" y="3444"/>
              <a:ext cx="772" cy="585"/>
            </a:xfrm>
            <a:custGeom>
              <a:avLst/>
              <a:gdLst>
                <a:gd name="T0" fmla="*/ 233 w 3088"/>
                <a:gd name="T1" fmla="*/ 1588 h 2339"/>
                <a:gd name="T2" fmla="*/ 253 w 3088"/>
                <a:gd name="T3" fmla="*/ 1795 h 2339"/>
                <a:gd name="T4" fmla="*/ 151 w 3088"/>
                <a:gd name="T5" fmla="*/ 1810 h 2339"/>
                <a:gd name="T6" fmla="*/ 351 w 3088"/>
                <a:gd name="T7" fmla="*/ 1761 h 2339"/>
                <a:gd name="T8" fmla="*/ 416 w 3088"/>
                <a:gd name="T9" fmla="*/ 1857 h 2339"/>
                <a:gd name="T10" fmla="*/ 1140 w 3088"/>
                <a:gd name="T11" fmla="*/ 1652 h 2339"/>
                <a:gd name="T12" fmla="*/ 1216 w 3088"/>
                <a:gd name="T13" fmla="*/ 1738 h 2339"/>
                <a:gd name="T14" fmla="*/ 696 w 3088"/>
                <a:gd name="T15" fmla="*/ 1546 h 2339"/>
                <a:gd name="T16" fmla="*/ 738 w 3088"/>
                <a:gd name="T17" fmla="*/ 1710 h 2339"/>
                <a:gd name="T18" fmla="*/ 860 w 3088"/>
                <a:gd name="T19" fmla="*/ 1854 h 2339"/>
                <a:gd name="T20" fmla="*/ 832 w 3088"/>
                <a:gd name="T21" fmla="*/ 1684 h 2339"/>
                <a:gd name="T22" fmla="*/ 2021 w 3088"/>
                <a:gd name="T23" fmla="*/ 1860 h 2339"/>
                <a:gd name="T24" fmla="*/ 2158 w 3088"/>
                <a:gd name="T25" fmla="*/ 1747 h 2339"/>
                <a:gd name="T26" fmla="*/ 2100 w 3088"/>
                <a:gd name="T27" fmla="*/ 1730 h 2339"/>
                <a:gd name="T28" fmla="*/ 2059 w 3088"/>
                <a:gd name="T29" fmla="*/ 1684 h 2339"/>
                <a:gd name="T30" fmla="*/ 1309 w 3088"/>
                <a:gd name="T31" fmla="*/ 1734 h 2339"/>
                <a:gd name="T32" fmla="*/ 1445 w 3088"/>
                <a:gd name="T33" fmla="*/ 1844 h 2339"/>
                <a:gd name="T34" fmla="*/ 1473 w 3088"/>
                <a:gd name="T35" fmla="*/ 1923 h 2339"/>
                <a:gd name="T36" fmla="*/ 1369 w 3088"/>
                <a:gd name="T37" fmla="*/ 1781 h 2339"/>
                <a:gd name="T38" fmla="*/ 1727 w 3088"/>
                <a:gd name="T39" fmla="*/ 1677 h 2339"/>
                <a:gd name="T40" fmla="*/ 1632 w 3088"/>
                <a:gd name="T41" fmla="*/ 1778 h 2339"/>
                <a:gd name="T42" fmla="*/ 1822 w 3088"/>
                <a:gd name="T43" fmla="*/ 1710 h 2339"/>
                <a:gd name="T44" fmla="*/ 1686 w 3088"/>
                <a:gd name="T45" fmla="*/ 1786 h 2339"/>
                <a:gd name="T46" fmla="*/ 1708 w 3088"/>
                <a:gd name="T47" fmla="*/ 1817 h 2339"/>
                <a:gd name="T48" fmla="*/ 2240 w 3088"/>
                <a:gd name="T49" fmla="*/ 1766 h 2339"/>
                <a:gd name="T50" fmla="*/ 2227 w 3088"/>
                <a:gd name="T51" fmla="*/ 1653 h 2339"/>
                <a:gd name="T52" fmla="*/ 2290 w 3088"/>
                <a:gd name="T53" fmla="*/ 1866 h 2339"/>
                <a:gd name="T54" fmla="*/ 2321 w 3088"/>
                <a:gd name="T55" fmla="*/ 1709 h 2339"/>
                <a:gd name="T56" fmla="*/ 2908 w 3088"/>
                <a:gd name="T57" fmla="*/ 1750 h 2339"/>
                <a:gd name="T58" fmla="*/ 2730 w 3088"/>
                <a:gd name="T59" fmla="*/ 1683 h 2339"/>
                <a:gd name="T60" fmla="*/ 2852 w 3088"/>
                <a:gd name="T61" fmla="*/ 1860 h 2339"/>
                <a:gd name="T62" fmla="*/ 2639 w 3088"/>
                <a:gd name="T63" fmla="*/ 1783 h 2339"/>
                <a:gd name="T64" fmla="*/ 2605 w 3088"/>
                <a:gd name="T65" fmla="*/ 1853 h 2339"/>
                <a:gd name="T66" fmla="*/ 2464 w 3088"/>
                <a:gd name="T67" fmla="*/ 1861 h 2339"/>
                <a:gd name="T68" fmla="*/ 2495 w 3088"/>
                <a:gd name="T69" fmla="*/ 1812 h 2339"/>
                <a:gd name="T70" fmla="*/ 2998 w 3088"/>
                <a:gd name="T71" fmla="*/ 1639 h 2339"/>
                <a:gd name="T72" fmla="*/ 975 w 3088"/>
                <a:gd name="T73" fmla="*/ 1860 h 2339"/>
                <a:gd name="T74" fmla="*/ 2416 w 3088"/>
                <a:gd name="T75" fmla="*/ 2069 h 2339"/>
                <a:gd name="T76" fmla="*/ 2510 w 3088"/>
                <a:gd name="T77" fmla="*/ 2251 h 2339"/>
                <a:gd name="T78" fmla="*/ 2485 w 3088"/>
                <a:gd name="T79" fmla="*/ 2074 h 2339"/>
                <a:gd name="T80" fmla="*/ 627 w 3088"/>
                <a:gd name="T81" fmla="*/ 2078 h 2339"/>
                <a:gd name="T82" fmla="*/ 672 w 3088"/>
                <a:gd name="T83" fmla="*/ 2089 h 2339"/>
                <a:gd name="T84" fmla="*/ 202 w 3088"/>
                <a:gd name="T85" fmla="*/ 2135 h 2339"/>
                <a:gd name="T86" fmla="*/ 310 w 3088"/>
                <a:gd name="T87" fmla="*/ 2174 h 2339"/>
                <a:gd name="T88" fmla="*/ 503 w 3088"/>
                <a:gd name="T89" fmla="*/ 2174 h 2339"/>
                <a:gd name="T90" fmla="*/ 374 w 3088"/>
                <a:gd name="T91" fmla="*/ 2185 h 2339"/>
                <a:gd name="T92" fmla="*/ 439 w 3088"/>
                <a:gd name="T93" fmla="*/ 2185 h 2339"/>
                <a:gd name="T94" fmla="*/ 2197 w 3088"/>
                <a:gd name="T95" fmla="*/ 2040 h 2339"/>
                <a:gd name="T96" fmla="*/ 1597 w 3088"/>
                <a:gd name="T97" fmla="*/ 2027 h 2339"/>
                <a:gd name="T98" fmla="*/ 1937 w 3088"/>
                <a:gd name="T99" fmla="*/ 2047 h 2339"/>
                <a:gd name="T100" fmla="*/ 2002 w 3088"/>
                <a:gd name="T101" fmla="*/ 2254 h 2339"/>
                <a:gd name="T102" fmla="*/ 2061 w 3088"/>
                <a:gd name="T103" fmla="*/ 2041 h 2339"/>
                <a:gd name="T104" fmla="*/ 2002 w 3088"/>
                <a:gd name="T105" fmla="*/ 2073 h 2339"/>
                <a:gd name="T106" fmla="*/ 767 w 3088"/>
                <a:gd name="T107" fmla="*/ 1934 h 2339"/>
                <a:gd name="T108" fmla="*/ 1202 w 3088"/>
                <a:gd name="T109" fmla="*/ 2037 h 2339"/>
                <a:gd name="T110" fmla="*/ 1108 w 3088"/>
                <a:gd name="T111" fmla="*/ 2086 h 2339"/>
                <a:gd name="T112" fmla="*/ 1280 w 3088"/>
                <a:gd name="T113" fmla="*/ 2078 h 2339"/>
                <a:gd name="T114" fmla="*/ 1385 w 3088"/>
                <a:gd name="T115" fmla="*/ 2249 h 2339"/>
                <a:gd name="T116" fmla="*/ 1403 w 3088"/>
                <a:gd name="T117" fmla="*/ 2332 h 2339"/>
                <a:gd name="T118" fmla="*/ 1354 w 3088"/>
                <a:gd name="T119" fmla="*/ 2200 h 2339"/>
                <a:gd name="T120" fmla="*/ 993 w 3088"/>
                <a:gd name="T121" fmla="*/ 2123 h 2339"/>
                <a:gd name="T122" fmla="*/ 397 w 3088"/>
                <a:gd name="T123" fmla="*/ 963 h 2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088" h="2339">
                  <a:moveTo>
                    <a:pt x="257" y="1763"/>
                  </a:moveTo>
                  <a:lnTo>
                    <a:pt x="257" y="1763"/>
                  </a:lnTo>
                  <a:lnTo>
                    <a:pt x="257" y="1755"/>
                  </a:lnTo>
                  <a:lnTo>
                    <a:pt x="256" y="1749"/>
                  </a:lnTo>
                  <a:lnTo>
                    <a:pt x="253" y="1736"/>
                  </a:lnTo>
                  <a:lnTo>
                    <a:pt x="247" y="1725"/>
                  </a:lnTo>
                  <a:lnTo>
                    <a:pt x="241" y="1716"/>
                  </a:lnTo>
                  <a:lnTo>
                    <a:pt x="233" y="1709"/>
                  </a:lnTo>
                  <a:lnTo>
                    <a:pt x="225" y="1704"/>
                  </a:lnTo>
                  <a:lnTo>
                    <a:pt x="219" y="1699"/>
                  </a:lnTo>
                  <a:lnTo>
                    <a:pt x="212" y="1696"/>
                  </a:lnTo>
                  <a:lnTo>
                    <a:pt x="212" y="1696"/>
                  </a:lnTo>
                  <a:lnTo>
                    <a:pt x="220" y="1690"/>
                  </a:lnTo>
                  <a:lnTo>
                    <a:pt x="226" y="1685"/>
                  </a:lnTo>
                  <a:lnTo>
                    <a:pt x="232" y="1678"/>
                  </a:lnTo>
                  <a:lnTo>
                    <a:pt x="237" y="1671"/>
                  </a:lnTo>
                  <a:lnTo>
                    <a:pt x="242" y="1663"/>
                  </a:lnTo>
                  <a:lnTo>
                    <a:pt x="244" y="1654"/>
                  </a:lnTo>
                  <a:lnTo>
                    <a:pt x="246" y="1645"/>
                  </a:lnTo>
                  <a:lnTo>
                    <a:pt x="246" y="1635"/>
                  </a:lnTo>
                  <a:lnTo>
                    <a:pt x="246" y="1635"/>
                  </a:lnTo>
                  <a:lnTo>
                    <a:pt x="246" y="1626"/>
                  </a:lnTo>
                  <a:lnTo>
                    <a:pt x="245" y="1618"/>
                  </a:lnTo>
                  <a:lnTo>
                    <a:pt x="243" y="1610"/>
                  </a:lnTo>
                  <a:lnTo>
                    <a:pt x="241" y="1602"/>
                  </a:lnTo>
                  <a:lnTo>
                    <a:pt x="237" y="1594"/>
                  </a:lnTo>
                  <a:lnTo>
                    <a:pt x="233" y="1588"/>
                  </a:lnTo>
                  <a:lnTo>
                    <a:pt x="227" y="1582"/>
                  </a:lnTo>
                  <a:lnTo>
                    <a:pt x="222" y="1577"/>
                  </a:lnTo>
                  <a:lnTo>
                    <a:pt x="215" y="1572"/>
                  </a:lnTo>
                  <a:lnTo>
                    <a:pt x="209" y="1568"/>
                  </a:lnTo>
                  <a:lnTo>
                    <a:pt x="201" y="1565"/>
                  </a:lnTo>
                  <a:lnTo>
                    <a:pt x="192" y="1561"/>
                  </a:lnTo>
                  <a:lnTo>
                    <a:pt x="183" y="1559"/>
                  </a:lnTo>
                  <a:lnTo>
                    <a:pt x="173" y="1557"/>
                  </a:lnTo>
                  <a:lnTo>
                    <a:pt x="163" y="1557"/>
                  </a:lnTo>
                  <a:lnTo>
                    <a:pt x="152" y="1556"/>
                  </a:lnTo>
                  <a:lnTo>
                    <a:pt x="22" y="1556"/>
                  </a:lnTo>
                  <a:lnTo>
                    <a:pt x="22" y="1860"/>
                  </a:lnTo>
                  <a:lnTo>
                    <a:pt x="151" y="1860"/>
                  </a:lnTo>
                  <a:lnTo>
                    <a:pt x="151" y="1860"/>
                  </a:lnTo>
                  <a:lnTo>
                    <a:pt x="163" y="1860"/>
                  </a:lnTo>
                  <a:lnTo>
                    <a:pt x="174" y="1859"/>
                  </a:lnTo>
                  <a:lnTo>
                    <a:pt x="185" y="1857"/>
                  </a:lnTo>
                  <a:lnTo>
                    <a:pt x="195" y="1854"/>
                  </a:lnTo>
                  <a:lnTo>
                    <a:pt x="205" y="1850"/>
                  </a:lnTo>
                  <a:lnTo>
                    <a:pt x="214" y="1846"/>
                  </a:lnTo>
                  <a:lnTo>
                    <a:pt x="222" y="1840"/>
                  </a:lnTo>
                  <a:lnTo>
                    <a:pt x="228" y="1835"/>
                  </a:lnTo>
                  <a:lnTo>
                    <a:pt x="235" y="1828"/>
                  </a:lnTo>
                  <a:lnTo>
                    <a:pt x="241" y="1821"/>
                  </a:lnTo>
                  <a:lnTo>
                    <a:pt x="246" y="1813"/>
                  </a:lnTo>
                  <a:lnTo>
                    <a:pt x="249" y="1804"/>
                  </a:lnTo>
                  <a:lnTo>
                    <a:pt x="253" y="1795"/>
                  </a:lnTo>
                  <a:lnTo>
                    <a:pt x="255" y="1785"/>
                  </a:lnTo>
                  <a:lnTo>
                    <a:pt x="256" y="1774"/>
                  </a:lnTo>
                  <a:lnTo>
                    <a:pt x="257" y="1763"/>
                  </a:lnTo>
                  <a:lnTo>
                    <a:pt x="257" y="1763"/>
                  </a:lnTo>
                  <a:close/>
                  <a:moveTo>
                    <a:pt x="151" y="1810"/>
                  </a:moveTo>
                  <a:lnTo>
                    <a:pt x="78" y="1810"/>
                  </a:lnTo>
                  <a:lnTo>
                    <a:pt x="78" y="1722"/>
                  </a:lnTo>
                  <a:lnTo>
                    <a:pt x="151" y="1722"/>
                  </a:lnTo>
                  <a:lnTo>
                    <a:pt x="151" y="1722"/>
                  </a:lnTo>
                  <a:lnTo>
                    <a:pt x="162" y="1723"/>
                  </a:lnTo>
                  <a:lnTo>
                    <a:pt x="171" y="1725"/>
                  </a:lnTo>
                  <a:lnTo>
                    <a:pt x="179" y="1728"/>
                  </a:lnTo>
                  <a:lnTo>
                    <a:pt x="185" y="1733"/>
                  </a:lnTo>
                  <a:lnTo>
                    <a:pt x="191" y="1739"/>
                  </a:lnTo>
                  <a:lnTo>
                    <a:pt x="194" y="1747"/>
                  </a:lnTo>
                  <a:lnTo>
                    <a:pt x="196" y="1755"/>
                  </a:lnTo>
                  <a:lnTo>
                    <a:pt x="198" y="1765"/>
                  </a:lnTo>
                  <a:lnTo>
                    <a:pt x="198" y="1765"/>
                  </a:lnTo>
                  <a:lnTo>
                    <a:pt x="196" y="1775"/>
                  </a:lnTo>
                  <a:lnTo>
                    <a:pt x="194" y="1784"/>
                  </a:lnTo>
                  <a:lnTo>
                    <a:pt x="190" y="1792"/>
                  </a:lnTo>
                  <a:lnTo>
                    <a:pt x="185" y="1797"/>
                  </a:lnTo>
                  <a:lnTo>
                    <a:pt x="179" y="1803"/>
                  </a:lnTo>
                  <a:lnTo>
                    <a:pt x="171" y="1806"/>
                  </a:lnTo>
                  <a:lnTo>
                    <a:pt x="161" y="1808"/>
                  </a:lnTo>
                  <a:lnTo>
                    <a:pt x="151" y="1810"/>
                  </a:lnTo>
                  <a:lnTo>
                    <a:pt x="151" y="1810"/>
                  </a:lnTo>
                  <a:close/>
                  <a:moveTo>
                    <a:pt x="150" y="1673"/>
                  </a:moveTo>
                  <a:lnTo>
                    <a:pt x="78" y="1673"/>
                  </a:lnTo>
                  <a:lnTo>
                    <a:pt x="78" y="1608"/>
                  </a:lnTo>
                  <a:lnTo>
                    <a:pt x="148" y="1608"/>
                  </a:lnTo>
                  <a:lnTo>
                    <a:pt x="148" y="1608"/>
                  </a:lnTo>
                  <a:lnTo>
                    <a:pt x="157" y="1609"/>
                  </a:lnTo>
                  <a:lnTo>
                    <a:pt x="166" y="1610"/>
                  </a:lnTo>
                  <a:lnTo>
                    <a:pt x="172" y="1612"/>
                  </a:lnTo>
                  <a:lnTo>
                    <a:pt x="178" y="1615"/>
                  </a:lnTo>
                  <a:lnTo>
                    <a:pt x="182" y="1621"/>
                  </a:lnTo>
                  <a:lnTo>
                    <a:pt x="185" y="1626"/>
                  </a:lnTo>
                  <a:lnTo>
                    <a:pt x="187" y="1633"/>
                  </a:lnTo>
                  <a:lnTo>
                    <a:pt x="188" y="1641"/>
                  </a:lnTo>
                  <a:lnTo>
                    <a:pt x="188" y="1641"/>
                  </a:lnTo>
                  <a:lnTo>
                    <a:pt x="188" y="1646"/>
                  </a:lnTo>
                  <a:lnTo>
                    <a:pt x="187" y="1652"/>
                  </a:lnTo>
                  <a:lnTo>
                    <a:pt x="184" y="1657"/>
                  </a:lnTo>
                  <a:lnTo>
                    <a:pt x="181" y="1662"/>
                  </a:lnTo>
                  <a:lnTo>
                    <a:pt x="175" y="1666"/>
                  </a:lnTo>
                  <a:lnTo>
                    <a:pt x="169" y="1669"/>
                  </a:lnTo>
                  <a:lnTo>
                    <a:pt x="161" y="1672"/>
                  </a:lnTo>
                  <a:lnTo>
                    <a:pt x="150" y="1673"/>
                  </a:lnTo>
                  <a:lnTo>
                    <a:pt x="150" y="1673"/>
                  </a:lnTo>
                  <a:close/>
                  <a:moveTo>
                    <a:pt x="296" y="1764"/>
                  </a:moveTo>
                  <a:lnTo>
                    <a:pt x="296" y="1639"/>
                  </a:lnTo>
                  <a:lnTo>
                    <a:pt x="351" y="1639"/>
                  </a:lnTo>
                  <a:lnTo>
                    <a:pt x="351" y="1761"/>
                  </a:lnTo>
                  <a:lnTo>
                    <a:pt x="351" y="1761"/>
                  </a:lnTo>
                  <a:lnTo>
                    <a:pt x="351" y="1773"/>
                  </a:lnTo>
                  <a:lnTo>
                    <a:pt x="353" y="1785"/>
                  </a:lnTo>
                  <a:lnTo>
                    <a:pt x="356" y="1794"/>
                  </a:lnTo>
                  <a:lnTo>
                    <a:pt x="361" y="1802"/>
                  </a:lnTo>
                  <a:lnTo>
                    <a:pt x="366" y="1807"/>
                  </a:lnTo>
                  <a:lnTo>
                    <a:pt x="373" y="1812"/>
                  </a:lnTo>
                  <a:lnTo>
                    <a:pt x="382" y="1814"/>
                  </a:lnTo>
                  <a:lnTo>
                    <a:pt x="392" y="1815"/>
                  </a:lnTo>
                  <a:lnTo>
                    <a:pt x="392" y="1815"/>
                  </a:lnTo>
                  <a:lnTo>
                    <a:pt x="402" y="1814"/>
                  </a:lnTo>
                  <a:lnTo>
                    <a:pt x="409" y="1812"/>
                  </a:lnTo>
                  <a:lnTo>
                    <a:pt x="417" y="1807"/>
                  </a:lnTo>
                  <a:lnTo>
                    <a:pt x="423" y="1802"/>
                  </a:lnTo>
                  <a:lnTo>
                    <a:pt x="427" y="1794"/>
                  </a:lnTo>
                  <a:lnTo>
                    <a:pt x="430" y="1784"/>
                  </a:lnTo>
                  <a:lnTo>
                    <a:pt x="433" y="1773"/>
                  </a:lnTo>
                  <a:lnTo>
                    <a:pt x="433" y="1761"/>
                  </a:lnTo>
                  <a:lnTo>
                    <a:pt x="433" y="1639"/>
                  </a:lnTo>
                  <a:lnTo>
                    <a:pt x="488" y="1639"/>
                  </a:lnTo>
                  <a:lnTo>
                    <a:pt x="488" y="1860"/>
                  </a:lnTo>
                  <a:lnTo>
                    <a:pt x="433" y="1860"/>
                  </a:lnTo>
                  <a:lnTo>
                    <a:pt x="433" y="1843"/>
                  </a:lnTo>
                  <a:lnTo>
                    <a:pt x="433" y="1843"/>
                  </a:lnTo>
                  <a:lnTo>
                    <a:pt x="428" y="1848"/>
                  </a:lnTo>
                  <a:lnTo>
                    <a:pt x="422" y="1853"/>
                  </a:lnTo>
                  <a:lnTo>
                    <a:pt x="416" y="1857"/>
                  </a:lnTo>
                  <a:lnTo>
                    <a:pt x="409" y="1859"/>
                  </a:lnTo>
                  <a:lnTo>
                    <a:pt x="403" y="1862"/>
                  </a:lnTo>
                  <a:lnTo>
                    <a:pt x="395" y="1864"/>
                  </a:lnTo>
                  <a:lnTo>
                    <a:pt x="387" y="1865"/>
                  </a:lnTo>
                  <a:lnTo>
                    <a:pt x="380" y="1866"/>
                  </a:lnTo>
                  <a:lnTo>
                    <a:pt x="380" y="1866"/>
                  </a:lnTo>
                  <a:lnTo>
                    <a:pt x="366" y="1865"/>
                  </a:lnTo>
                  <a:lnTo>
                    <a:pt x="355" y="1862"/>
                  </a:lnTo>
                  <a:lnTo>
                    <a:pt x="345" y="1859"/>
                  </a:lnTo>
                  <a:lnTo>
                    <a:pt x="336" y="1855"/>
                  </a:lnTo>
                  <a:lnTo>
                    <a:pt x="328" y="1849"/>
                  </a:lnTo>
                  <a:lnTo>
                    <a:pt x="321" y="1844"/>
                  </a:lnTo>
                  <a:lnTo>
                    <a:pt x="316" y="1836"/>
                  </a:lnTo>
                  <a:lnTo>
                    <a:pt x="310" y="1828"/>
                  </a:lnTo>
                  <a:lnTo>
                    <a:pt x="307" y="1821"/>
                  </a:lnTo>
                  <a:lnTo>
                    <a:pt x="304" y="1813"/>
                  </a:lnTo>
                  <a:lnTo>
                    <a:pt x="299" y="1795"/>
                  </a:lnTo>
                  <a:lnTo>
                    <a:pt x="297" y="1779"/>
                  </a:lnTo>
                  <a:lnTo>
                    <a:pt x="296" y="1764"/>
                  </a:lnTo>
                  <a:lnTo>
                    <a:pt x="296" y="1764"/>
                  </a:lnTo>
                  <a:close/>
                  <a:moveTo>
                    <a:pt x="1135" y="1860"/>
                  </a:moveTo>
                  <a:lnTo>
                    <a:pt x="1079" y="1860"/>
                  </a:lnTo>
                  <a:lnTo>
                    <a:pt x="1079" y="1639"/>
                  </a:lnTo>
                  <a:lnTo>
                    <a:pt x="1135" y="1639"/>
                  </a:lnTo>
                  <a:lnTo>
                    <a:pt x="1135" y="1657"/>
                  </a:lnTo>
                  <a:lnTo>
                    <a:pt x="1135" y="1657"/>
                  </a:lnTo>
                  <a:lnTo>
                    <a:pt x="1140" y="1652"/>
                  </a:lnTo>
                  <a:lnTo>
                    <a:pt x="1146" y="1646"/>
                  </a:lnTo>
                  <a:lnTo>
                    <a:pt x="1152" y="1643"/>
                  </a:lnTo>
                  <a:lnTo>
                    <a:pt x="1159" y="1640"/>
                  </a:lnTo>
                  <a:lnTo>
                    <a:pt x="1167" y="1636"/>
                  </a:lnTo>
                  <a:lnTo>
                    <a:pt x="1173" y="1635"/>
                  </a:lnTo>
                  <a:lnTo>
                    <a:pt x="1182" y="1634"/>
                  </a:lnTo>
                  <a:lnTo>
                    <a:pt x="1190" y="1633"/>
                  </a:lnTo>
                  <a:lnTo>
                    <a:pt x="1190" y="1633"/>
                  </a:lnTo>
                  <a:lnTo>
                    <a:pt x="1200" y="1634"/>
                  </a:lnTo>
                  <a:lnTo>
                    <a:pt x="1208" y="1635"/>
                  </a:lnTo>
                  <a:lnTo>
                    <a:pt x="1217" y="1637"/>
                  </a:lnTo>
                  <a:lnTo>
                    <a:pt x="1225" y="1640"/>
                  </a:lnTo>
                  <a:lnTo>
                    <a:pt x="1233" y="1643"/>
                  </a:lnTo>
                  <a:lnTo>
                    <a:pt x="1239" y="1648"/>
                  </a:lnTo>
                  <a:lnTo>
                    <a:pt x="1245" y="1653"/>
                  </a:lnTo>
                  <a:lnTo>
                    <a:pt x="1250" y="1659"/>
                  </a:lnTo>
                  <a:lnTo>
                    <a:pt x="1256" y="1666"/>
                  </a:lnTo>
                  <a:lnTo>
                    <a:pt x="1259" y="1674"/>
                  </a:lnTo>
                  <a:lnTo>
                    <a:pt x="1264" y="1682"/>
                  </a:lnTo>
                  <a:lnTo>
                    <a:pt x="1266" y="1690"/>
                  </a:lnTo>
                  <a:lnTo>
                    <a:pt x="1268" y="1700"/>
                  </a:lnTo>
                  <a:lnTo>
                    <a:pt x="1270" y="1711"/>
                  </a:lnTo>
                  <a:lnTo>
                    <a:pt x="1271" y="1722"/>
                  </a:lnTo>
                  <a:lnTo>
                    <a:pt x="1271" y="1734"/>
                  </a:lnTo>
                  <a:lnTo>
                    <a:pt x="1271" y="1860"/>
                  </a:lnTo>
                  <a:lnTo>
                    <a:pt x="1216" y="1860"/>
                  </a:lnTo>
                  <a:lnTo>
                    <a:pt x="1216" y="1738"/>
                  </a:lnTo>
                  <a:lnTo>
                    <a:pt x="1216" y="1738"/>
                  </a:lnTo>
                  <a:lnTo>
                    <a:pt x="1216" y="1725"/>
                  </a:lnTo>
                  <a:lnTo>
                    <a:pt x="1214" y="1714"/>
                  </a:lnTo>
                  <a:lnTo>
                    <a:pt x="1211" y="1705"/>
                  </a:lnTo>
                  <a:lnTo>
                    <a:pt x="1206" y="1697"/>
                  </a:lnTo>
                  <a:lnTo>
                    <a:pt x="1201" y="1691"/>
                  </a:lnTo>
                  <a:lnTo>
                    <a:pt x="1194" y="1687"/>
                  </a:lnTo>
                  <a:lnTo>
                    <a:pt x="1186" y="1685"/>
                  </a:lnTo>
                  <a:lnTo>
                    <a:pt x="1176" y="1684"/>
                  </a:lnTo>
                  <a:lnTo>
                    <a:pt x="1176" y="1684"/>
                  </a:lnTo>
                  <a:lnTo>
                    <a:pt x="1167" y="1685"/>
                  </a:lnTo>
                  <a:lnTo>
                    <a:pt x="1158" y="1687"/>
                  </a:lnTo>
                  <a:lnTo>
                    <a:pt x="1151" y="1691"/>
                  </a:lnTo>
                  <a:lnTo>
                    <a:pt x="1146" y="1697"/>
                  </a:lnTo>
                  <a:lnTo>
                    <a:pt x="1140" y="1705"/>
                  </a:lnTo>
                  <a:lnTo>
                    <a:pt x="1137" y="1715"/>
                  </a:lnTo>
                  <a:lnTo>
                    <a:pt x="1135" y="1726"/>
                  </a:lnTo>
                  <a:lnTo>
                    <a:pt x="1135" y="1738"/>
                  </a:lnTo>
                  <a:lnTo>
                    <a:pt x="1135" y="1860"/>
                  </a:lnTo>
                  <a:close/>
                  <a:moveTo>
                    <a:pt x="593" y="1742"/>
                  </a:moveTo>
                  <a:lnTo>
                    <a:pt x="593" y="1860"/>
                  </a:lnTo>
                  <a:lnTo>
                    <a:pt x="537" y="1860"/>
                  </a:lnTo>
                  <a:lnTo>
                    <a:pt x="537" y="1639"/>
                  </a:lnTo>
                  <a:lnTo>
                    <a:pt x="593" y="1639"/>
                  </a:lnTo>
                  <a:lnTo>
                    <a:pt x="593" y="1742"/>
                  </a:lnTo>
                  <a:close/>
                  <a:moveTo>
                    <a:pt x="641" y="1573"/>
                  </a:moveTo>
                  <a:lnTo>
                    <a:pt x="696" y="1546"/>
                  </a:lnTo>
                  <a:lnTo>
                    <a:pt x="696" y="1747"/>
                  </a:lnTo>
                  <a:lnTo>
                    <a:pt x="696" y="1860"/>
                  </a:lnTo>
                  <a:lnTo>
                    <a:pt x="641" y="1860"/>
                  </a:lnTo>
                  <a:lnTo>
                    <a:pt x="641" y="1573"/>
                  </a:lnTo>
                  <a:close/>
                  <a:moveTo>
                    <a:pt x="871" y="1654"/>
                  </a:moveTo>
                  <a:lnTo>
                    <a:pt x="871" y="1654"/>
                  </a:lnTo>
                  <a:lnTo>
                    <a:pt x="866" y="1648"/>
                  </a:lnTo>
                  <a:lnTo>
                    <a:pt x="861" y="1645"/>
                  </a:lnTo>
                  <a:lnTo>
                    <a:pt x="854" y="1641"/>
                  </a:lnTo>
                  <a:lnTo>
                    <a:pt x="849" y="1639"/>
                  </a:lnTo>
                  <a:lnTo>
                    <a:pt x="842" y="1636"/>
                  </a:lnTo>
                  <a:lnTo>
                    <a:pt x="835" y="1634"/>
                  </a:lnTo>
                  <a:lnTo>
                    <a:pt x="822" y="1633"/>
                  </a:lnTo>
                  <a:lnTo>
                    <a:pt x="822" y="1633"/>
                  </a:lnTo>
                  <a:lnTo>
                    <a:pt x="812" y="1634"/>
                  </a:lnTo>
                  <a:lnTo>
                    <a:pt x="802" y="1635"/>
                  </a:lnTo>
                  <a:lnTo>
                    <a:pt x="794" y="1637"/>
                  </a:lnTo>
                  <a:lnTo>
                    <a:pt x="786" y="1641"/>
                  </a:lnTo>
                  <a:lnTo>
                    <a:pt x="778" y="1645"/>
                  </a:lnTo>
                  <a:lnTo>
                    <a:pt x="770" y="1651"/>
                  </a:lnTo>
                  <a:lnTo>
                    <a:pt x="764" y="1657"/>
                  </a:lnTo>
                  <a:lnTo>
                    <a:pt x="758" y="1664"/>
                  </a:lnTo>
                  <a:lnTo>
                    <a:pt x="753" y="1672"/>
                  </a:lnTo>
                  <a:lnTo>
                    <a:pt x="748" y="1680"/>
                  </a:lnTo>
                  <a:lnTo>
                    <a:pt x="744" y="1689"/>
                  </a:lnTo>
                  <a:lnTo>
                    <a:pt x="741" y="1699"/>
                  </a:lnTo>
                  <a:lnTo>
                    <a:pt x="738" y="1710"/>
                  </a:lnTo>
                  <a:lnTo>
                    <a:pt x="736" y="1722"/>
                  </a:lnTo>
                  <a:lnTo>
                    <a:pt x="735" y="1734"/>
                  </a:lnTo>
                  <a:lnTo>
                    <a:pt x="735" y="1747"/>
                  </a:lnTo>
                  <a:lnTo>
                    <a:pt x="735" y="1747"/>
                  </a:lnTo>
                  <a:lnTo>
                    <a:pt x="735" y="1761"/>
                  </a:lnTo>
                  <a:lnTo>
                    <a:pt x="736" y="1773"/>
                  </a:lnTo>
                  <a:lnTo>
                    <a:pt x="738" y="1785"/>
                  </a:lnTo>
                  <a:lnTo>
                    <a:pt x="741" y="1796"/>
                  </a:lnTo>
                  <a:lnTo>
                    <a:pt x="744" y="1807"/>
                  </a:lnTo>
                  <a:lnTo>
                    <a:pt x="747" y="1817"/>
                  </a:lnTo>
                  <a:lnTo>
                    <a:pt x="752" y="1826"/>
                  </a:lnTo>
                  <a:lnTo>
                    <a:pt x="757" y="1834"/>
                  </a:lnTo>
                  <a:lnTo>
                    <a:pt x="764" y="1841"/>
                  </a:lnTo>
                  <a:lnTo>
                    <a:pt x="769" y="1847"/>
                  </a:lnTo>
                  <a:lnTo>
                    <a:pt x="777" y="1853"/>
                  </a:lnTo>
                  <a:lnTo>
                    <a:pt x="785" y="1857"/>
                  </a:lnTo>
                  <a:lnTo>
                    <a:pt x="792" y="1860"/>
                  </a:lnTo>
                  <a:lnTo>
                    <a:pt x="801" y="1864"/>
                  </a:lnTo>
                  <a:lnTo>
                    <a:pt x="811" y="1865"/>
                  </a:lnTo>
                  <a:lnTo>
                    <a:pt x="821" y="1866"/>
                  </a:lnTo>
                  <a:lnTo>
                    <a:pt x="821" y="1866"/>
                  </a:lnTo>
                  <a:lnTo>
                    <a:pt x="828" y="1865"/>
                  </a:lnTo>
                  <a:lnTo>
                    <a:pt x="834" y="1864"/>
                  </a:lnTo>
                  <a:lnTo>
                    <a:pt x="841" y="1862"/>
                  </a:lnTo>
                  <a:lnTo>
                    <a:pt x="848" y="1860"/>
                  </a:lnTo>
                  <a:lnTo>
                    <a:pt x="853" y="1857"/>
                  </a:lnTo>
                  <a:lnTo>
                    <a:pt x="860" y="1854"/>
                  </a:lnTo>
                  <a:lnTo>
                    <a:pt x="865" y="1849"/>
                  </a:lnTo>
                  <a:lnTo>
                    <a:pt x="871" y="1844"/>
                  </a:lnTo>
                  <a:lnTo>
                    <a:pt x="871" y="1860"/>
                  </a:lnTo>
                  <a:lnTo>
                    <a:pt x="926" y="1860"/>
                  </a:lnTo>
                  <a:lnTo>
                    <a:pt x="926" y="1546"/>
                  </a:lnTo>
                  <a:lnTo>
                    <a:pt x="871" y="1573"/>
                  </a:lnTo>
                  <a:lnTo>
                    <a:pt x="871" y="1654"/>
                  </a:lnTo>
                  <a:close/>
                  <a:moveTo>
                    <a:pt x="832" y="1815"/>
                  </a:moveTo>
                  <a:lnTo>
                    <a:pt x="832" y="1815"/>
                  </a:lnTo>
                  <a:lnTo>
                    <a:pt x="826" y="1814"/>
                  </a:lnTo>
                  <a:lnTo>
                    <a:pt x="818" y="1812"/>
                  </a:lnTo>
                  <a:lnTo>
                    <a:pt x="811" y="1808"/>
                  </a:lnTo>
                  <a:lnTo>
                    <a:pt x="805" y="1802"/>
                  </a:lnTo>
                  <a:lnTo>
                    <a:pt x="799" y="1793"/>
                  </a:lnTo>
                  <a:lnTo>
                    <a:pt x="795" y="1781"/>
                  </a:lnTo>
                  <a:lnTo>
                    <a:pt x="791" y="1765"/>
                  </a:lnTo>
                  <a:lnTo>
                    <a:pt x="790" y="1746"/>
                  </a:lnTo>
                  <a:lnTo>
                    <a:pt x="790" y="1746"/>
                  </a:lnTo>
                  <a:lnTo>
                    <a:pt x="791" y="1728"/>
                  </a:lnTo>
                  <a:lnTo>
                    <a:pt x="795" y="1715"/>
                  </a:lnTo>
                  <a:lnTo>
                    <a:pt x="799" y="1704"/>
                  </a:lnTo>
                  <a:lnTo>
                    <a:pt x="805" y="1696"/>
                  </a:lnTo>
                  <a:lnTo>
                    <a:pt x="810" y="1689"/>
                  </a:lnTo>
                  <a:lnTo>
                    <a:pt x="818" y="1686"/>
                  </a:lnTo>
                  <a:lnTo>
                    <a:pt x="824" y="1684"/>
                  </a:lnTo>
                  <a:lnTo>
                    <a:pt x="832" y="1684"/>
                  </a:lnTo>
                  <a:lnTo>
                    <a:pt x="832" y="1684"/>
                  </a:lnTo>
                  <a:lnTo>
                    <a:pt x="839" y="1684"/>
                  </a:lnTo>
                  <a:lnTo>
                    <a:pt x="845" y="1686"/>
                  </a:lnTo>
                  <a:lnTo>
                    <a:pt x="852" y="1688"/>
                  </a:lnTo>
                  <a:lnTo>
                    <a:pt x="856" y="1691"/>
                  </a:lnTo>
                  <a:lnTo>
                    <a:pt x="861" y="1695"/>
                  </a:lnTo>
                  <a:lnTo>
                    <a:pt x="865" y="1698"/>
                  </a:lnTo>
                  <a:lnTo>
                    <a:pt x="871" y="1706"/>
                  </a:lnTo>
                  <a:lnTo>
                    <a:pt x="871" y="1793"/>
                  </a:lnTo>
                  <a:lnTo>
                    <a:pt x="871" y="1793"/>
                  </a:lnTo>
                  <a:lnTo>
                    <a:pt x="864" y="1801"/>
                  </a:lnTo>
                  <a:lnTo>
                    <a:pt x="856" y="1807"/>
                  </a:lnTo>
                  <a:lnTo>
                    <a:pt x="852" y="1811"/>
                  </a:lnTo>
                  <a:lnTo>
                    <a:pt x="845" y="1813"/>
                  </a:lnTo>
                  <a:lnTo>
                    <a:pt x="840" y="1814"/>
                  </a:lnTo>
                  <a:lnTo>
                    <a:pt x="832" y="1815"/>
                  </a:lnTo>
                  <a:lnTo>
                    <a:pt x="832" y="1815"/>
                  </a:lnTo>
                  <a:close/>
                  <a:moveTo>
                    <a:pt x="2069" y="1633"/>
                  </a:moveTo>
                  <a:lnTo>
                    <a:pt x="2069" y="1633"/>
                  </a:lnTo>
                  <a:lnTo>
                    <a:pt x="2064" y="1634"/>
                  </a:lnTo>
                  <a:lnTo>
                    <a:pt x="2057" y="1635"/>
                  </a:lnTo>
                  <a:lnTo>
                    <a:pt x="2044" y="1639"/>
                  </a:lnTo>
                  <a:lnTo>
                    <a:pt x="2032" y="1645"/>
                  </a:lnTo>
                  <a:lnTo>
                    <a:pt x="2021" y="1654"/>
                  </a:lnTo>
                  <a:lnTo>
                    <a:pt x="2021" y="1551"/>
                  </a:lnTo>
                  <a:lnTo>
                    <a:pt x="1966" y="1579"/>
                  </a:lnTo>
                  <a:lnTo>
                    <a:pt x="1966" y="1860"/>
                  </a:lnTo>
                  <a:lnTo>
                    <a:pt x="2021" y="1860"/>
                  </a:lnTo>
                  <a:lnTo>
                    <a:pt x="2021" y="1844"/>
                  </a:lnTo>
                  <a:lnTo>
                    <a:pt x="2021" y="1844"/>
                  </a:lnTo>
                  <a:lnTo>
                    <a:pt x="2025" y="1849"/>
                  </a:lnTo>
                  <a:lnTo>
                    <a:pt x="2032" y="1854"/>
                  </a:lnTo>
                  <a:lnTo>
                    <a:pt x="2037" y="1857"/>
                  </a:lnTo>
                  <a:lnTo>
                    <a:pt x="2044" y="1860"/>
                  </a:lnTo>
                  <a:lnTo>
                    <a:pt x="2049" y="1862"/>
                  </a:lnTo>
                  <a:lnTo>
                    <a:pt x="2057" y="1864"/>
                  </a:lnTo>
                  <a:lnTo>
                    <a:pt x="2064" y="1865"/>
                  </a:lnTo>
                  <a:lnTo>
                    <a:pt x="2070" y="1866"/>
                  </a:lnTo>
                  <a:lnTo>
                    <a:pt x="2070" y="1866"/>
                  </a:lnTo>
                  <a:lnTo>
                    <a:pt x="2080" y="1865"/>
                  </a:lnTo>
                  <a:lnTo>
                    <a:pt x="2090" y="1864"/>
                  </a:lnTo>
                  <a:lnTo>
                    <a:pt x="2099" y="1861"/>
                  </a:lnTo>
                  <a:lnTo>
                    <a:pt x="2108" y="1857"/>
                  </a:lnTo>
                  <a:lnTo>
                    <a:pt x="2116" y="1853"/>
                  </a:lnTo>
                  <a:lnTo>
                    <a:pt x="2122" y="1848"/>
                  </a:lnTo>
                  <a:lnTo>
                    <a:pt x="2129" y="1841"/>
                  </a:lnTo>
                  <a:lnTo>
                    <a:pt x="2134" y="1835"/>
                  </a:lnTo>
                  <a:lnTo>
                    <a:pt x="2140" y="1826"/>
                  </a:lnTo>
                  <a:lnTo>
                    <a:pt x="2144" y="1817"/>
                  </a:lnTo>
                  <a:lnTo>
                    <a:pt x="2148" y="1807"/>
                  </a:lnTo>
                  <a:lnTo>
                    <a:pt x="2151" y="1797"/>
                  </a:lnTo>
                  <a:lnTo>
                    <a:pt x="2154" y="1786"/>
                  </a:lnTo>
                  <a:lnTo>
                    <a:pt x="2155" y="1774"/>
                  </a:lnTo>
                  <a:lnTo>
                    <a:pt x="2157" y="1761"/>
                  </a:lnTo>
                  <a:lnTo>
                    <a:pt x="2158" y="1747"/>
                  </a:lnTo>
                  <a:lnTo>
                    <a:pt x="2158" y="1747"/>
                  </a:lnTo>
                  <a:lnTo>
                    <a:pt x="2157" y="1734"/>
                  </a:lnTo>
                  <a:lnTo>
                    <a:pt x="2155" y="1722"/>
                  </a:lnTo>
                  <a:lnTo>
                    <a:pt x="2153" y="1710"/>
                  </a:lnTo>
                  <a:lnTo>
                    <a:pt x="2151" y="1699"/>
                  </a:lnTo>
                  <a:lnTo>
                    <a:pt x="2148" y="1689"/>
                  </a:lnTo>
                  <a:lnTo>
                    <a:pt x="2143" y="1680"/>
                  </a:lnTo>
                  <a:lnTo>
                    <a:pt x="2139" y="1672"/>
                  </a:lnTo>
                  <a:lnTo>
                    <a:pt x="2133" y="1664"/>
                  </a:lnTo>
                  <a:lnTo>
                    <a:pt x="2128" y="1657"/>
                  </a:lnTo>
                  <a:lnTo>
                    <a:pt x="2121" y="1651"/>
                  </a:lnTo>
                  <a:lnTo>
                    <a:pt x="2113" y="1645"/>
                  </a:lnTo>
                  <a:lnTo>
                    <a:pt x="2106" y="1641"/>
                  </a:lnTo>
                  <a:lnTo>
                    <a:pt x="2098" y="1637"/>
                  </a:lnTo>
                  <a:lnTo>
                    <a:pt x="2089" y="1635"/>
                  </a:lnTo>
                  <a:lnTo>
                    <a:pt x="2079" y="1634"/>
                  </a:lnTo>
                  <a:lnTo>
                    <a:pt x="2069" y="1633"/>
                  </a:lnTo>
                  <a:lnTo>
                    <a:pt x="2069" y="1633"/>
                  </a:lnTo>
                  <a:close/>
                  <a:moveTo>
                    <a:pt x="2059" y="1684"/>
                  </a:moveTo>
                  <a:lnTo>
                    <a:pt x="2059" y="1684"/>
                  </a:lnTo>
                  <a:lnTo>
                    <a:pt x="2067" y="1685"/>
                  </a:lnTo>
                  <a:lnTo>
                    <a:pt x="2075" y="1687"/>
                  </a:lnTo>
                  <a:lnTo>
                    <a:pt x="2081" y="1691"/>
                  </a:lnTo>
                  <a:lnTo>
                    <a:pt x="2088" y="1698"/>
                  </a:lnTo>
                  <a:lnTo>
                    <a:pt x="2094" y="1706"/>
                  </a:lnTo>
                  <a:lnTo>
                    <a:pt x="2097" y="1717"/>
                  </a:lnTo>
                  <a:lnTo>
                    <a:pt x="2100" y="1730"/>
                  </a:lnTo>
                  <a:lnTo>
                    <a:pt x="2101" y="1746"/>
                  </a:lnTo>
                  <a:lnTo>
                    <a:pt x="2101" y="1746"/>
                  </a:lnTo>
                  <a:lnTo>
                    <a:pt x="2100" y="1762"/>
                  </a:lnTo>
                  <a:lnTo>
                    <a:pt x="2098" y="1776"/>
                  </a:lnTo>
                  <a:lnTo>
                    <a:pt x="2096" y="1787"/>
                  </a:lnTo>
                  <a:lnTo>
                    <a:pt x="2091" y="1797"/>
                  </a:lnTo>
                  <a:lnTo>
                    <a:pt x="2085" y="1805"/>
                  </a:lnTo>
                  <a:lnTo>
                    <a:pt x="2078" y="1811"/>
                  </a:lnTo>
                  <a:lnTo>
                    <a:pt x="2070" y="1814"/>
                  </a:lnTo>
                  <a:lnTo>
                    <a:pt x="2061" y="1815"/>
                  </a:lnTo>
                  <a:lnTo>
                    <a:pt x="2061" y="1815"/>
                  </a:lnTo>
                  <a:lnTo>
                    <a:pt x="2053" y="1814"/>
                  </a:lnTo>
                  <a:lnTo>
                    <a:pt x="2046" y="1813"/>
                  </a:lnTo>
                  <a:lnTo>
                    <a:pt x="2041" y="1810"/>
                  </a:lnTo>
                  <a:lnTo>
                    <a:pt x="2035" y="1807"/>
                  </a:lnTo>
                  <a:lnTo>
                    <a:pt x="2026" y="1800"/>
                  </a:lnTo>
                  <a:lnTo>
                    <a:pt x="2021" y="1794"/>
                  </a:lnTo>
                  <a:lnTo>
                    <a:pt x="2021" y="1706"/>
                  </a:lnTo>
                  <a:lnTo>
                    <a:pt x="2021" y="1706"/>
                  </a:lnTo>
                  <a:lnTo>
                    <a:pt x="2024" y="1701"/>
                  </a:lnTo>
                  <a:lnTo>
                    <a:pt x="2029" y="1697"/>
                  </a:lnTo>
                  <a:lnTo>
                    <a:pt x="2033" y="1693"/>
                  </a:lnTo>
                  <a:lnTo>
                    <a:pt x="2037" y="1689"/>
                  </a:lnTo>
                  <a:lnTo>
                    <a:pt x="2043" y="1687"/>
                  </a:lnTo>
                  <a:lnTo>
                    <a:pt x="2048" y="1685"/>
                  </a:lnTo>
                  <a:lnTo>
                    <a:pt x="2054" y="1684"/>
                  </a:lnTo>
                  <a:lnTo>
                    <a:pt x="2059" y="1684"/>
                  </a:lnTo>
                  <a:lnTo>
                    <a:pt x="2059" y="1684"/>
                  </a:lnTo>
                  <a:close/>
                  <a:moveTo>
                    <a:pt x="1445" y="1654"/>
                  </a:moveTo>
                  <a:lnTo>
                    <a:pt x="1445" y="1654"/>
                  </a:lnTo>
                  <a:lnTo>
                    <a:pt x="1440" y="1650"/>
                  </a:lnTo>
                  <a:lnTo>
                    <a:pt x="1435" y="1645"/>
                  </a:lnTo>
                  <a:lnTo>
                    <a:pt x="1428" y="1642"/>
                  </a:lnTo>
                  <a:lnTo>
                    <a:pt x="1423" y="1639"/>
                  </a:lnTo>
                  <a:lnTo>
                    <a:pt x="1416" y="1636"/>
                  </a:lnTo>
                  <a:lnTo>
                    <a:pt x="1409" y="1634"/>
                  </a:lnTo>
                  <a:lnTo>
                    <a:pt x="1403" y="1634"/>
                  </a:lnTo>
                  <a:lnTo>
                    <a:pt x="1396" y="1633"/>
                  </a:lnTo>
                  <a:lnTo>
                    <a:pt x="1396" y="1633"/>
                  </a:lnTo>
                  <a:lnTo>
                    <a:pt x="1386" y="1634"/>
                  </a:lnTo>
                  <a:lnTo>
                    <a:pt x="1376" y="1635"/>
                  </a:lnTo>
                  <a:lnTo>
                    <a:pt x="1367" y="1637"/>
                  </a:lnTo>
                  <a:lnTo>
                    <a:pt x="1360" y="1641"/>
                  </a:lnTo>
                  <a:lnTo>
                    <a:pt x="1352" y="1645"/>
                  </a:lnTo>
                  <a:lnTo>
                    <a:pt x="1344" y="1651"/>
                  </a:lnTo>
                  <a:lnTo>
                    <a:pt x="1338" y="1657"/>
                  </a:lnTo>
                  <a:lnTo>
                    <a:pt x="1332" y="1664"/>
                  </a:lnTo>
                  <a:lnTo>
                    <a:pt x="1327" y="1672"/>
                  </a:lnTo>
                  <a:lnTo>
                    <a:pt x="1322" y="1680"/>
                  </a:lnTo>
                  <a:lnTo>
                    <a:pt x="1318" y="1689"/>
                  </a:lnTo>
                  <a:lnTo>
                    <a:pt x="1314" y="1699"/>
                  </a:lnTo>
                  <a:lnTo>
                    <a:pt x="1312" y="1710"/>
                  </a:lnTo>
                  <a:lnTo>
                    <a:pt x="1310" y="1722"/>
                  </a:lnTo>
                  <a:lnTo>
                    <a:pt x="1309" y="1734"/>
                  </a:lnTo>
                  <a:lnTo>
                    <a:pt x="1309" y="1747"/>
                  </a:lnTo>
                  <a:lnTo>
                    <a:pt x="1309" y="1747"/>
                  </a:lnTo>
                  <a:lnTo>
                    <a:pt x="1309" y="1761"/>
                  </a:lnTo>
                  <a:lnTo>
                    <a:pt x="1310" y="1773"/>
                  </a:lnTo>
                  <a:lnTo>
                    <a:pt x="1312" y="1785"/>
                  </a:lnTo>
                  <a:lnTo>
                    <a:pt x="1314" y="1796"/>
                  </a:lnTo>
                  <a:lnTo>
                    <a:pt x="1318" y="1807"/>
                  </a:lnTo>
                  <a:lnTo>
                    <a:pt x="1321" y="1817"/>
                  </a:lnTo>
                  <a:lnTo>
                    <a:pt x="1327" y="1826"/>
                  </a:lnTo>
                  <a:lnTo>
                    <a:pt x="1331" y="1834"/>
                  </a:lnTo>
                  <a:lnTo>
                    <a:pt x="1338" y="1841"/>
                  </a:lnTo>
                  <a:lnTo>
                    <a:pt x="1343" y="1847"/>
                  </a:lnTo>
                  <a:lnTo>
                    <a:pt x="1351" y="1853"/>
                  </a:lnTo>
                  <a:lnTo>
                    <a:pt x="1359" y="1857"/>
                  </a:lnTo>
                  <a:lnTo>
                    <a:pt x="1366" y="1860"/>
                  </a:lnTo>
                  <a:lnTo>
                    <a:pt x="1375" y="1864"/>
                  </a:lnTo>
                  <a:lnTo>
                    <a:pt x="1385" y="1865"/>
                  </a:lnTo>
                  <a:lnTo>
                    <a:pt x="1395" y="1865"/>
                  </a:lnTo>
                  <a:lnTo>
                    <a:pt x="1395" y="1865"/>
                  </a:lnTo>
                  <a:lnTo>
                    <a:pt x="1402" y="1865"/>
                  </a:lnTo>
                  <a:lnTo>
                    <a:pt x="1408" y="1864"/>
                  </a:lnTo>
                  <a:lnTo>
                    <a:pt x="1415" y="1862"/>
                  </a:lnTo>
                  <a:lnTo>
                    <a:pt x="1421" y="1860"/>
                  </a:lnTo>
                  <a:lnTo>
                    <a:pt x="1428" y="1857"/>
                  </a:lnTo>
                  <a:lnTo>
                    <a:pt x="1434" y="1853"/>
                  </a:lnTo>
                  <a:lnTo>
                    <a:pt x="1439" y="1849"/>
                  </a:lnTo>
                  <a:lnTo>
                    <a:pt x="1445" y="1844"/>
                  </a:lnTo>
                  <a:lnTo>
                    <a:pt x="1445" y="1849"/>
                  </a:lnTo>
                  <a:lnTo>
                    <a:pt x="1445" y="1849"/>
                  </a:lnTo>
                  <a:lnTo>
                    <a:pt x="1445" y="1858"/>
                  </a:lnTo>
                  <a:lnTo>
                    <a:pt x="1444" y="1868"/>
                  </a:lnTo>
                  <a:lnTo>
                    <a:pt x="1441" y="1878"/>
                  </a:lnTo>
                  <a:lnTo>
                    <a:pt x="1439" y="1882"/>
                  </a:lnTo>
                  <a:lnTo>
                    <a:pt x="1436" y="1887"/>
                  </a:lnTo>
                  <a:lnTo>
                    <a:pt x="1433" y="1891"/>
                  </a:lnTo>
                  <a:lnTo>
                    <a:pt x="1428" y="1896"/>
                  </a:lnTo>
                  <a:lnTo>
                    <a:pt x="1421" y="1899"/>
                  </a:lnTo>
                  <a:lnTo>
                    <a:pt x="1415" y="1901"/>
                  </a:lnTo>
                  <a:lnTo>
                    <a:pt x="1407" y="1904"/>
                  </a:lnTo>
                  <a:lnTo>
                    <a:pt x="1397" y="1905"/>
                  </a:lnTo>
                  <a:lnTo>
                    <a:pt x="1386" y="1908"/>
                  </a:lnTo>
                  <a:lnTo>
                    <a:pt x="1374" y="1908"/>
                  </a:lnTo>
                  <a:lnTo>
                    <a:pt x="1372" y="1908"/>
                  </a:lnTo>
                  <a:lnTo>
                    <a:pt x="1391" y="1951"/>
                  </a:lnTo>
                  <a:lnTo>
                    <a:pt x="1392" y="1951"/>
                  </a:lnTo>
                  <a:lnTo>
                    <a:pt x="1392" y="1951"/>
                  </a:lnTo>
                  <a:lnTo>
                    <a:pt x="1405" y="1951"/>
                  </a:lnTo>
                  <a:lnTo>
                    <a:pt x="1417" y="1948"/>
                  </a:lnTo>
                  <a:lnTo>
                    <a:pt x="1429" y="1946"/>
                  </a:lnTo>
                  <a:lnTo>
                    <a:pt x="1439" y="1943"/>
                  </a:lnTo>
                  <a:lnTo>
                    <a:pt x="1449" y="1940"/>
                  </a:lnTo>
                  <a:lnTo>
                    <a:pt x="1458" y="1935"/>
                  </a:lnTo>
                  <a:lnTo>
                    <a:pt x="1466" y="1929"/>
                  </a:lnTo>
                  <a:lnTo>
                    <a:pt x="1473" y="1923"/>
                  </a:lnTo>
                  <a:lnTo>
                    <a:pt x="1480" y="1915"/>
                  </a:lnTo>
                  <a:lnTo>
                    <a:pt x="1484" y="1907"/>
                  </a:lnTo>
                  <a:lnTo>
                    <a:pt x="1490" y="1898"/>
                  </a:lnTo>
                  <a:lnTo>
                    <a:pt x="1493" y="1888"/>
                  </a:lnTo>
                  <a:lnTo>
                    <a:pt x="1497" y="1877"/>
                  </a:lnTo>
                  <a:lnTo>
                    <a:pt x="1499" y="1866"/>
                  </a:lnTo>
                  <a:lnTo>
                    <a:pt x="1500" y="1854"/>
                  </a:lnTo>
                  <a:lnTo>
                    <a:pt x="1500" y="1839"/>
                  </a:lnTo>
                  <a:lnTo>
                    <a:pt x="1500" y="1639"/>
                  </a:lnTo>
                  <a:lnTo>
                    <a:pt x="1445" y="1639"/>
                  </a:lnTo>
                  <a:lnTo>
                    <a:pt x="1445" y="1654"/>
                  </a:lnTo>
                  <a:close/>
                  <a:moveTo>
                    <a:pt x="1445" y="1706"/>
                  </a:moveTo>
                  <a:lnTo>
                    <a:pt x="1445" y="1793"/>
                  </a:lnTo>
                  <a:lnTo>
                    <a:pt x="1445" y="1793"/>
                  </a:lnTo>
                  <a:lnTo>
                    <a:pt x="1438" y="1801"/>
                  </a:lnTo>
                  <a:lnTo>
                    <a:pt x="1429" y="1808"/>
                  </a:lnTo>
                  <a:lnTo>
                    <a:pt x="1425" y="1811"/>
                  </a:lnTo>
                  <a:lnTo>
                    <a:pt x="1419" y="1813"/>
                  </a:lnTo>
                  <a:lnTo>
                    <a:pt x="1413" y="1814"/>
                  </a:lnTo>
                  <a:lnTo>
                    <a:pt x="1406" y="1815"/>
                  </a:lnTo>
                  <a:lnTo>
                    <a:pt x="1406" y="1815"/>
                  </a:lnTo>
                  <a:lnTo>
                    <a:pt x="1398" y="1814"/>
                  </a:lnTo>
                  <a:lnTo>
                    <a:pt x="1392" y="1812"/>
                  </a:lnTo>
                  <a:lnTo>
                    <a:pt x="1384" y="1807"/>
                  </a:lnTo>
                  <a:lnTo>
                    <a:pt x="1378" y="1802"/>
                  </a:lnTo>
                  <a:lnTo>
                    <a:pt x="1373" y="1793"/>
                  </a:lnTo>
                  <a:lnTo>
                    <a:pt x="1369" y="1781"/>
                  </a:lnTo>
                  <a:lnTo>
                    <a:pt x="1365" y="1765"/>
                  </a:lnTo>
                  <a:lnTo>
                    <a:pt x="1364" y="1746"/>
                  </a:lnTo>
                  <a:lnTo>
                    <a:pt x="1364" y="1746"/>
                  </a:lnTo>
                  <a:lnTo>
                    <a:pt x="1365" y="1728"/>
                  </a:lnTo>
                  <a:lnTo>
                    <a:pt x="1369" y="1715"/>
                  </a:lnTo>
                  <a:lnTo>
                    <a:pt x="1373" y="1704"/>
                  </a:lnTo>
                  <a:lnTo>
                    <a:pt x="1378" y="1696"/>
                  </a:lnTo>
                  <a:lnTo>
                    <a:pt x="1384" y="1689"/>
                  </a:lnTo>
                  <a:lnTo>
                    <a:pt x="1392" y="1686"/>
                  </a:lnTo>
                  <a:lnTo>
                    <a:pt x="1398" y="1684"/>
                  </a:lnTo>
                  <a:lnTo>
                    <a:pt x="1406" y="1684"/>
                  </a:lnTo>
                  <a:lnTo>
                    <a:pt x="1406" y="1684"/>
                  </a:lnTo>
                  <a:lnTo>
                    <a:pt x="1413" y="1684"/>
                  </a:lnTo>
                  <a:lnTo>
                    <a:pt x="1419" y="1686"/>
                  </a:lnTo>
                  <a:lnTo>
                    <a:pt x="1426" y="1688"/>
                  </a:lnTo>
                  <a:lnTo>
                    <a:pt x="1430" y="1690"/>
                  </a:lnTo>
                  <a:lnTo>
                    <a:pt x="1435" y="1695"/>
                  </a:lnTo>
                  <a:lnTo>
                    <a:pt x="1439" y="1698"/>
                  </a:lnTo>
                  <a:lnTo>
                    <a:pt x="1445" y="1706"/>
                  </a:lnTo>
                  <a:lnTo>
                    <a:pt x="1445" y="1706"/>
                  </a:lnTo>
                  <a:close/>
                  <a:moveTo>
                    <a:pt x="1671" y="1693"/>
                  </a:moveTo>
                  <a:lnTo>
                    <a:pt x="1671" y="1693"/>
                  </a:lnTo>
                  <a:lnTo>
                    <a:pt x="1684" y="1686"/>
                  </a:lnTo>
                  <a:lnTo>
                    <a:pt x="1697" y="1682"/>
                  </a:lnTo>
                  <a:lnTo>
                    <a:pt x="1712" y="1678"/>
                  </a:lnTo>
                  <a:lnTo>
                    <a:pt x="1727" y="1677"/>
                  </a:lnTo>
                  <a:lnTo>
                    <a:pt x="1727" y="1677"/>
                  </a:lnTo>
                  <a:lnTo>
                    <a:pt x="1737" y="1678"/>
                  </a:lnTo>
                  <a:lnTo>
                    <a:pt x="1745" y="1679"/>
                  </a:lnTo>
                  <a:lnTo>
                    <a:pt x="1751" y="1682"/>
                  </a:lnTo>
                  <a:lnTo>
                    <a:pt x="1757" y="1686"/>
                  </a:lnTo>
                  <a:lnTo>
                    <a:pt x="1761" y="1690"/>
                  </a:lnTo>
                  <a:lnTo>
                    <a:pt x="1765" y="1696"/>
                  </a:lnTo>
                  <a:lnTo>
                    <a:pt x="1767" y="1701"/>
                  </a:lnTo>
                  <a:lnTo>
                    <a:pt x="1767" y="1709"/>
                  </a:lnTo>
                  <a:lnTo>
                    <a:pt x="1767" y="1725"/>
                  </a:lnTo>
                  <a:lnTo>
                    <a:pt x="1767" y="1725"/>
                  </a:lnTo>
                  <a:lnTo>
                    <a:pt x="1757" y="1720"/>
                  </a:lnTo>
                  <a:lnTo>
                    <a:pt x="1745" y="1717"/>
                  </a:lnTo>
                  <a:lnTo>
                    <a:pt x="1733" y="1715"/>
                  </a:lnTo>
                  <a:lnTo>
                    <a:pt x="1719" y="1714"/>
                  </a:lnTo>
                  <a:lnTo>
                    <a:pt x="1719" y="1714"/>
                  </a:lnTo>
                  <a:lnTo>
                    <a:pt x="1704" y="1715"/>
                  </a:lnTo>
                  <a:lnTo>
                    <a:pt x="1689" y="1718"/>
                  </a:lnTo>
                  <a:lnTo>
                    <a:pt x="1674" y="1722"/>
                  </a:lnTo>
                  <a:lnTo>
                    <a:pt x="1667" y="1726"/>
                  </a:lnTo>
                  <a:lnTo>
                    <a:pt x="1660" y="1730"/>
                  </a:lnTo>
                  <a:lnTo>
                    <a:pt x="1654" y="1734"/>
                  </a:lnTo>
                  <a:lnTo>
                    <a:pt x="1649" y="1740"/>
                  </a:lnTo>
                  <a:lnTo>
                    <a:pt x="1643" y="1746"/>
                  </a:lnTo>
                  <a:lnTo>
                    <a:pt x="1639" y="1752"/>
                  </a:lnTo>
                  <a:lnTo>
                    <a:pt x="1636" y="1760"/>
                  </a:lnTo>
                  <a:lnTo>
                    <a:pt x="1633" y="1769"/>
                  </a:lnTo>
                  <a:lnTo>
                    <a:pt x="1632" y="1778"/>
                  </a:lnTo>
                  <a:lnTo>
                    <a:pt x="1631" y="1786"/>
                  </a:lnTo>
                  <a:lnTo>
                    <a:pt x="1631" y="1786"/>
                  </a:lnTo>
                  <a:lnTo>
                    <a:pt x="1632" y="1797"/>
                  </a:lnTo>
                  <a:lnTo>
                    <a:pt x="1633" y="1807"/>
                  </a:lnTo>
                  <a:lnTo>
                    <a:pt x="1636" y="1815"/>
                  </a:lnTo>
                  <a:lnTo>
                    <a:pt x="1639" y="1824"/>
                  </a:lnTo>
                  <a:lnTo>
                    <a:pt x="1642" y="1830"/>
                  </a:lnTo>
                  <a:lnTo>
                    <a:pt x="1648" y="1837"/>
                  </a:lnTo>
                  <a:lnTo>
                    <a:pt x="1652" y="1843"/>
                  </a:lnTo>
                  <a:lnTo>
                    <a:pt x="1659" y="1848"/>
                  </a:lnTo>
                  <a:lnTo>
                    <a:pt x="1664" y="1853"/>
                  </a:lnTo>
                  <a:lnTo>
                    <a:pt x="1671" y="1856"/>
                  </a:lnTo>
                  <a:lnTo>
                    <a:pt x="1685" y="1861"/>
                  </a:lnTo>
                  <a:lnTo>
                    <a:pt x="1700" y="1865"/>
                  </a:lnTo>
                  <a:lnTo>
                    <a:pt x="1714" y="1866"/>
                  </a:lnTo>
                  <a:lnTo>
                    <a:pt x="1714" y="1866"/>
                  </a:lnTo>
                  <a:lnTo>
                    <a:pt x="1726" y="1864"/>
                  </a:lnTo>
                  <a:lnTo>
                    <a:pt x="1734" y="1862"/>
                  </a:lnTo>
                  <a:lnTo>
                    <a:pt x="1740" y="1860"/>
                  </a:lnTo>
                  <a:lnTo>
                    <a:pt x="1748" y="1857"/>
                  </a:lnTo>
                  <a:lnTo>
                    <a:pt x="1755" y="1853"/>
                  </a:lnTo>
                  <a:lnTo>
                    <a:pt x="1761" y="1848"/>
                  </a:lnTo>
                  <a:lnTo>
                    <a:pt x="1767" y="1843"/>
                  </a:lnTo>
                  <a:lnTo>
                    <a:pt x="1767" y="1860"/>
                  </a:lnTo>
                  <a:lnTo>
                    <a:pt x="1822" y="1860"/>
                  </a:lnTo>
                  <a:lnTo>
                    <a:pt x="1822" y="1710"/>
                  </a:lnTo>
                  <a:lnTo>
                    <a:pt x="1822" y="1710"/>
                  </a:lnTo>
                  <a:lnTo>
                    <a:pt x="1822" y="1701"/>
                  </a:lnTo>
                  <a:lnTo>
                    <a:pt x="1821" y="1694"/>
                  </a:lnTo>
                  <a:lnTo>
                    <a:pt x="1819" y="1686"/>
                  </a:lnTo>
                  <a:lnTo>
                    <a:pt x="1817" y="1678"/>
                  </a:lnTo>
                  <a:lnTo>
                    <a:pt x="1812" y="1672"/>
                  </a:lnTo>
                  <a:lnTo>
                    <a:pt x="1809" y="1665"/>
                  </a:lnTo>
                  <a:lnTo>
                    <a:pt x="1803" y="1659"/>
                  </a:lnTo>
                  <a:lnTo>
                    <a:pt x="1798" y="1654"/>
                  </a:lnTo>
                  <a:lnTo>
                    <a:pt x="1792" y="1650"/>
                  </a:lnTo>
                  <a:lnTo>
                    <a:pt x="1786" y="1645"/>
                  </a:lnTo>
                  <a:lnTo>
                    <a:pt x="1778" y="1642"/>
                  </a:lnTo>
                  <a:lnTo>
                    <a:pt x="1770" y="1639"/>
                  </a:lnTo>
                  <a:lnTo>
                    <a:pt x="1761" y="1636"/>
                  </a:lnTo>
                  <a:lnTo>
                    <a:pt x="1753" y="1635"/>
                  </a:lnTo>
                  <a:lnTo>
                    <a:pt x="1743" y="1634"/>
                  </a:lnTo>
                  <a:lnTo>
                    <a:pt x="1733" y="1633"/>
                  </a:lnTo>
                  <a:lnTo>
                    <a:pt x="1733" y="1633"/>
                  </a:lnTo>
                  <a:lnTo>
                    <a:pt x="1721" y="1634"/>
                  </a:lnTo>
                  <a:lnTo>
                    <a:pt x="1711" y="1634"/>
                  </a:lnTo>
                  <a:lnTo>
                    <a:pt x="1700" y="1636"/>
                  </a:lnTo>
                  <a:lnTo>
                    <a:pt x="1689" y="1639"/>
                  </a:lnTo>
                  <a:lnTo>
                    <a:pt x="1679" y="1642"/>
                  </a:lnTo>
                  <a:lnTo>
                    <a:pt x="1669" y="1645"/>
                  </a:lnTo>
                  <a:lnTo>
                    <a:pt x="1659" y="1650"/>
                  </a:lnTo>
                  <a:lnTo>
                    <a:pt x="1649" y="1655"/>
                  </a:lnTo>
                  <a:lnTo>
                    <a:pt x="1671" y="1693"/>
                  </a:lnTo>
                  <a:close/>
                  <a:moveTo>
                    <a:pt x="1686" y="1786"/>
                  </a:moveTo>
                  <a:lnTo>
                    <a:pt x="1686" y="1786"/>
                  </a:lnTo>
                  <a:lnTo>
                    <a:pt x="1686" y="1780"/>
                  </a:lnTo>
                  <a:lnTo>
                    <a:pt x="1689" y="1773"/>
                  </a:lnTo>
                  <a:lnTo>
                    <a:pt x="1692" y="1768"/>
                  </a:lnTo>
                  <a:lnTo>
                    <a:pt x="1696" y="1763"/>
                  </a:lnTo>
                  <a:lnTo>
                    <a:pt x="1702" y="1760"/>
                  </a:lnTo>
                  <a:lnTo>
                    <a:pt x="1708" y="1758"/>
                  </a:lnTo>
                  <a:lnTo>
                    <a:pt x="1716" y="1755"/>
                  </a:lnTo>
                  <a:lnTo>
                    <a:pt x="1724" y="1755"/>
                  </a:lnTo>
                  <a:lnTo>
                    <a:pt x="1724" y="1755"/>
                  </a:lnTo>
                  <a:lnTo>
                    <a:pt x="1736" y="1755"/>
                  </a:lnTo>
                  <a:lnTo>
                    <a:pt x="1747" y="1758"/>
                  </a:lnTo>
                  <a:lnTo>
                    <a:pt x="1757" y="1761"/>
                  </a:lnTo>
                  <a:lnTo>
                    <a:pt x="1767" y="1766"/>
                  </a:lnTo>
                  <a:lnTo>
                    <a:pt x="1767" y="1796"/>
                  </a:lnTo>
                  <a:lnTo>
                    <a:pt x="1767" y="1796"/>
                  </a:lnTo>
                  <a:lnTo>
                    <a:pt x="1765" y="1801"/>
                  </a:lnTo>
                  <a:lnTo>
                    <a:pt x="1760" y="1805"/>
                  </a:lnTo>
                  <a:lnTo>
                    <a:pt x="1756" y="1810"/>
                  </a:lnTo>
                  <a:lnTo>
                    <a:pt x="1750" y="1813"/>
                  </a:lnTo>
                  <a:lnTo>
                    <a:pt x="1745" y="1816"/>
                  </a:lnTo>
                  <a:lnTo>
                    <a:pt x="1738" y="1818"/>
                  </a:lnTo>
                  <a:lnTo>
                    <a:pt x="1732" y="1819"/>
                  </a:lnTo>
                  <a:lnTo>
                    <a:pt x="1724" y="1821"/>
                  </a:lnTo>
                  <a:lnTo>
                    <a:pt x="1724" y="1821"/>
                  </a:lnTo>
                  <a:lnTo>
                    <a:pt x="1716" y="1819"/>
                  </a:lnTo>
                  <a:lnTo>
                    <a:pt x="1708" y="1817"/>
                  </a:lnTo>
                  <a:lnTo>
                    <a:pt x="1702" y="1815"/>
                  </a:lnTo>
                  <a:lnTo>
                    <a:pt x="1696" y="1811"/>
                  </a:lnTo>
                  <a:lnTo>
                    <a:pt x="1692" y="1806"/>
                  </a:lnTo>
                  <a:lnTo>
                    <a:pt x="1689" y="1801"/>
                  </a:lnTo>
                  <a:lnTo>
                    <a:pt x="1687" y="1794"/>
                  </a:lnTo>
                  <a:lnTo>
                    <a:pt x="1686" y="1786"/>
                  </a:lnTo>
                  <a:lnTo>
                    <a:pt x="1686" y="1786"/>
                  </a:lnTo>
                  <a:close/>
                  <a:moveTo>
                    <a:pt x="2333" y="1796"/>
                  </a:moveTo>
                  <a:lnTo>
                    <a:pt x="2333" y="1796"/>
                  </a:lnTo>
                  <a:lnTo>
                    <a:pt x="2325" y="1803"/>
                  </a:lnTo>
                  <a:lnTo>
                    <a:pt x="2315" y="1808"/>
                  </a:lnTo>
                  <a:lnTo>
                    <a:pt x="2310" y="1811"/>
                  </a:lnTo>
                  <a:lnTo>
                    <a:pt x="2303" y="1813"/>
                  </a:lnTo>
                  <a:lnTo>
                    <a:pt x="2297" y="1814"/>
                  </a:lnTo>
                  <a:lnTo>
                    <a:pt x="2290" y="1815"/>
                  </a:lnTo>
                  <a:lnTo>
                    <a:pt x="2290" y="1815"/>
                  </a:lnTo>
                  <a:lnTo>
                    <a:pt x="2285" y="1814"/>
                  </a:lnTo>
                  <a:lnTo>
                    <a:pt x="2278" y="1814"/>
                  </a:lnTo>
                  <a:lnTo>
                    <a:pt x="2270" y="1812"/>
                  </a:lnTo>
                  <a:lnTo>
                    <a:pt x="2261" y="1807"/>
                  </a:lnTo>
                  <a:lnTo>
                    <a:pt x="2254" y="1802"/>
                  </a:lnTo>
                  <a:lnTo>
                    <a:pt x="2250" y="1797"/>
                  </a:lnTo>
                  <a:lnTo>
                    <a:pt x="2247" y="1793"/>
                  </a:lnTo>
                  <a:lnTo>
                    <a:pt x="2245" y="1787"/>
                  </a:lnTo>
                  <a:lnTo>
                    <a:pt x="2243" y="1781"/>
                  </a:lnTo>
                  <a:lnTo>
                    <a:pt x="2242" y="1774"/>
                  </a:lnTo>
                  <a:lnTo>
                    <a:pt x="2240" y="1766"/>
                  </a:lnTo>
                  <a:lnTo>
                    <a:pt x="2376" y="1766"/>
                  </a:lnTo>
                  <a:lnTo>
                    <a:pt x="2376" y="1766"/>
                  </a:lnTo>
                  <a:lnTo>
                    <a:pt x="2377" y="1750"/>
                  </a:lnTo>
                  <a:lnTo>
                    <a:pt x="2377" y="1750"/>
                  </a:lnTo>
                  <a:lnTo>
                    <a:pt x="2377" y="1737"/>
                  </a:lnTo>
                  <a:lnTo>
                    <a:pt x="2375" y="1725"/>
                  </a:lnTo>
                  <a:lnTo>
                    <a:pt x="2374" y="1712"/>
                  </a:lnTo>
                  <a:lnTo>
                    <a:pt x="2371" y="1701"/>
                  </a:lnTo>
                  <a:lnTo>
                    <a:pt x="2367" y="1691"/>
                  </a:lnTo>
                  <a:lnTo>
                    <a:pt x="2363" y="1682"/>
                  </a:lnTo>
                  <a:lnTo>
                    <a:pt x="2357" y="1673"/>
                  </a:lnTo>
                  <a:lnTo>
                    <a:pt x="2352" y="1665"/>
                  </a:lnTo>
                  <a:lnTo>
                    <a:pt x="2345" y="1657"/>
                  </a:lnTo>
                  <a:lnTo>
                    <a:pt x="2339" y="1652"/>
                  </a:lnTo>
                  <a:lnTo>
                    <a:pt x="2331" y="1646"/>
                  </a:lnTo>
                  <a:lnTo>
                    <a:pt x="2322" y="1642"/>
                  </a:lnTo>
                  <a:lnTo>
                    <a:pt x="2313" y="1639"/>
                  </a:lnTo>
                  <a:lnTo>
                    <a:pt x="2304" y="1635"/>
                  </a:lnTo>
                  <a:lnTo>
                    <a:pt x="2294" y="1634"/>
                  </a:lnTo>
                  <a:lnTo>
                    <a:pt x="2283" y="1633"/>
                  </a:lnTo>
                  <a:lnTo>
                    <a:pt x="2283" y="1633"/>
                  </a:lnTo>
                  <a:lnTo>
                    <a:pt x="2274" y="1634"/>
                  </a:lnTo>
                  <a:lnTo>
                    <a:pt x="2264" y="1635"/>
                  </a:lnTo>
                  <a:lnTo>
                    <a:pt x="2254" y="1639"/>
                  </a:lnTo>
                  <a:lnTo>
                    <a:pt x="2244" y="1642"/>
                  </a:lnTo>
                  <a:lnTo>
                    <a:pt x="2235" y="1646"/>
                  </a:lnTo>
                  <a:lnTo>
                    <a:pt x="2227" y="1653"/>
                  </a:lnTo>
                  <a:lnTo>
                    <a:pt x="2219" y="1658"/>
                  </a:lnTo>
                  <a:lnTo>
                    <a:pt x="2213" y="1666"/>
                  </a:lnTo>
                  <a:lnTo>
                    <a:pt x="2206" y="1674"/>
                  </a:lnTo>
                  <a:lnTo>
                    <a:pt x="2201" y="1683"/>
                  </a:lnTo>
                  <a:lnTo>
                    <a:pt x="2196" y="1693"/>
                  </a:lnTo>
                  <a:lnTo>
                    <a:pt x="2192" y="1703"/>
                  </a:lnTo>
                  <a:lnTo>
                    <a:pt x="2189" y="1714"/>
                  </a:lnTo>
                  <a:lnTo>
                    <a:pt x="2186" y="1726"/>
                  </a:lnTo>
                  <a:lnTo>
                    <a:pt x="2185" y="1737"/>
                  </a:lnTo>
                  <a:lnTo>
                    <a:pt x="2184" y="1750"/>
                  </a:lnTo>
                  <a:lnTo>
                    <a:pt x="2184" y="1750"/>
                  </a:lnTo>
                  <a:lnTo>
                    <a:pt x="2185" y="1762"/>
                  </a:lnTo>
                  <a:lnTo>
                    <a:pt x="2186" y="1774"/>
                  </a:lnTo>
                  <a:lnTo>
                    <a:pt x="2189" y="1786"/>
                  </a:lnTo>
                  <a:lnTo>
                    <a:pt x="2192" y="1797"/>
                  </a:lnTo>
                  <a:lnTo>
                    <a:pt x="2196" y="1807"/>
                  </a:lnTo>
                  <a:lnTo>
                    <a:pt x="2201" y="1817"/>
                  </a:lnTo>
                  <a:lnTo>
                    <a:pt x="2206" y="1826"/>
                  </a:lnTo>
                  <a:lnTo>
                    <a:pt x="2213" y="1834"/>
                  </a:lnTo>
                  <a:lnTo>
                    <a:pt x="2221" y="1840"/>
                  </a:lnTo>
                  <a:lnTo>
                    <a:pt x="2228" y="1847"/>
                  </a:lnTo>
                  <a:lnTo>
                    <a:pt x="2237" y="1853"/>
                  </a:lnTo>
                  <a:lnTo>
                    <a:pt x="2246" y="1857"/>
                  </a:lnTo>
                  <a:lnTo>
                    <a:pt x="2256" y="1860"/>
                  </a:lnTo>
                  <a:lnTo>
                    <a:pt x="2267" y="1864"/>
                  </a:lnTo>
                  <a:lnTo>
                    <a:pt x="2278" y="1865"/>
                  </a:lnTo>
                  <a:lnTo>
                    <a:pt x="2290" y="1866"/>
                  </a:lnTo>
                  <a:lnTo>
                    <a:pt x="2290" y="1866"/>
                  </a:lnTo>
                  <a:lnTo>
                    <a:pt x="2301" y="1865"/>
                  </a:lnTo>
                  <a:lnTo>
                    <a:pt x="2311" y="1864"/>
                  </a:lnTo>
                  <a:lnTo>
                    <a:pt x="2322" y="1860"/>
                  </a:lnTo>
                  <a:lnTo>
                    <a:pt x="2332" y="1857"/>
                  </a:lnTo>
                  <a:lnTo>
                    <a:pt x="2342" y="1851"/>
                  </a:lnTo>
                  <a:lnTo>
                    <a:pt x="2351" y="1846"/>
                  </a:lnTo>
                  <a:lnTo>
                    <a:pt x="2360" y="1838"/>
                  </a:lnTo>
                  <a:lnTo>
                    <a:pt x="2368" y="1830"/>
                  </a:lnTo>
                  <a:lnTo>
                    <a:pt x="2333" y="1796"/>
                  </a:lnTo>
                  <a:close/>
                  <a:moveTo>
                    <a:pt x="2242" y="1726"/>
                  </a:moveTo>
                  <a:lnTo>
                    <a:pt x="2242" y="1726"/>
                  </a:lnTo>
                  <a:lnTo>
                    <a:pt x="2243" y="1716"/>
                  </a:lnTo>
                  <a:lnTo>
                    <a:pt x="2245" y="1707"/>
                  </a:lnTo>
                  <a:lnTo>
                    <a:pt x="2248" y="1699"/>
                  </a:lnTo>
                  <a:lnTo>
                    <a:pt x="2254" y="1693"/>
                  </a:lnTo>
                  <a:lnTo>
                    <a:pt x="2259" y="1687"/>
                  </a:lnTo>
                  <a:lnTo>
                    <a:pt x="2266" y="1684"/>
                  </a:lnTo>
                  <a:lnTo>
                    <a:pt x="2274" y="1680"/>
                  </a:lnTo>
                  <a:lnTo>
                    <a:pt x="2282" y="1680"/>
                  </a:lnTo>
                  <a:lnTo>
                    <a:pt x="2282" y="1680"/>
                  </a:lnTo>
                  <a:lnTo>
                    <a:pt x="2292" y="1682"/>
                  </a:lnTo>
                  <a:lnTo>
                    <a:pt x="2301" y="1684"/>
                  </a:lnTo>
                  <a:lnTo>
                    <a:pt x="2308" y="1688"/>
                  </a:lnTo>
                  <a:lnTo>
                    <a:pt x="2313" y="1695"/>
                  </a:lnTo>
                  <a:lnTo>
                    <a:pt x="2318" y="1701"/>
                  </a:lnTo>
                  <a:lnTo>
                    <a:pt x="2321" y="1709"/>
                  </a:lnTo>
                  <a:lnTo>
                    <a:pt x="2323" y="1718"/>
                  </a:lnTo>
                  <a:lnTo>
                    <a:pt x="2324" y="1726"/>
                  </a:lnTo>
                  <a:lnTo>
                    <a:pt x="2242" y="1726"/>
                  </a:lnTo>
                  <a:close/>
                  <a:moveTo>
                    <a:pt x="2864" y="1796"/>
                  </a:moveTo>
                  <a:lnTo>
                    <a:pt x="2864" y="1796"/>
                  </a:lnTo>
                  <a:lnTo>
                    <a:pt x="2855" y="1803"/>
                  </a:lnTo>
                  <a:lnTo>
                    <a:pt x="2846" y="1808"/>
                  </a:lnTo>
                  <a:lnTo>
                    <a:pt x="2840" y="1811"/>
                  </a:lnTo>
                  <a:lnTo>
                    <a:pt x="2834" y="1813"/>
                  </a:lnTo>
                  <a:lnTo>
                    <a:pt x="2828" y="1814"/>
                  </a:lnTo>
                  <a:lnTo>
                    <a:pt x="2820" y="1815"/>
                  </a:lnTo>
                  <a:lnTo>
                    <a:pt x="2820" y="1815"/>
                  </a:lnTo>
                  <a:lnTo>
                    <a:pt x="2814" y="1814"/>
                  </a:lnTo>
                  <a:lnTo>
                    <a:pt x="2808" y="1814"/>
                  </a:lnTo>
                  <a:lnTo>
                    <a:pt x="2800" y="1812"/>
                  </a:lnTo>
                  <a:lnTo>
                    <a:pt x="2792" y="1807"/>
                  </a:lnTo>
                  <a:lnTo>
                    <a:pt x="2784" y="1802"/>
                  </a:lnTo>
                  <a:lnTo>
                    <a:pt x="2781" y="1797"/>
                  </a:lnTo>
                  <a:lnTo>
                    <a:pt x="2778" y="1793"/>
                  </a:lnTo>
                  <a:lnTo>
                    <a:pt x="2776" y="1787"/>
                  </a:lnTo>
                  <a:lnTo>
                    <a:pt x="2773" y="1781"/>
                  </a:lnTo>
                  <a:lnTo>
                    <a:pt x="2771" y="1774"/>
                  </a:lnTo>
                  <a:lnTo>
                    <a:pt x="2770" y="1766"/>
                  </a:lnTo>
                  <a:lnTo>
                    <a:pt x="2907" y="1766"/>
                  </a:lnTo>
                  <a:lnTo>
                    <a:pt x="2907" y="1766"/>
                  </a:lnTo>
                  <a:lnTo>
                    <a:pt x="2908" y="1750"/>
                  </a:lnTo>
                  <a:lnTo>
                    <a:pt x="2908" y="1750"/>
                  </a:lnTo>
                  <a:lnTo>
                    <a:pt x="2907" y="1737"/>
                  </a:lnTo>
                  <a:lnTo>
                    <a:pt x="2906" y="1725"/>
                  </a:lnTo>
                  <a:lnTo>
                    <a:pt x="2904" y="1712"/>
                  </a:lnTo>
                  <a:lnTo>
                    <a:pt x="2901" y="1701"/>
                  </a:lnTo>
                  <a:lnTo>
                    <a:pt x="2897" y="1691"/>
                  </a:lnTo>
                  <a:lnTo>
                    <a:pt x="2893" y="1682"/>
                  </a:lnTo>
                  <a:lnTo>
                    <a:pt x="2888" y="1673"/>
                  </a:lnTo>
                  <a:lnTo>
                    <a:pt x="2883" y="1665"/>
                  </a:lnTo>
                  <a:lnTo>
                    <a:pt x="2876" y="1657"/>
                  </a:lnTo>
                  <a:lnTo>
                    <a:pt x="2868" y="1652"/>
                  </a:lnTo>
                  <a:lnTo>
                    <a:pt x="2861" y="1646"/>
                  </a:lnTo>
                  <a:lnTo>
                    <a:pt x="2853" y="1642"/>
                  </a:lnTo>
                  <a:lnTo>
                    <a:pt x="2844" y="1639"/>
                  </a:lnTo>
                  <a:lnTo>
                    <a:pt x="2834" y="1635"/>
                  </a:lnTo>
                  <a:lnTo>
                    <a:pt x="2824" y="1634"/>
                  </a:lnTo>
                  <a:lnTo>
                    <a:pt x="2814" y="1633"/>
                  </a:lnTo>
                  <a:lnTo>
                    <a:pt x="2814" y="1633"/>
                  </a:lnTo>
                  <a:lnTo>
                    <a:pt x="2803" y="1634"/>
                  </a:lnTo>
                  <a:lnTo>
                    <a:pt x="2793" y="1635"/>
                  </a:lnTo>
                  <a:lnTo>
                    <a:pt x="2783" y="1639"/>
                  </a:lnTo>
                  <a:lnTo>
                    <a:pt x="2775" y="1642"/>
                  </a:lnTo>
                  <a:lnTo>
                    <a:pt x="2766" y="1646"/>
                  </a:lnTo>
                  <a:lnTo>
                    <a:pt x="2757" y="1653"/>
                  </a:lnTo>
                  <a:lnTo>
                    <a:pt x="2750" y="1658"/>
                  </a:lnTo>
                  <a:lnTo>
                    <a:pt x="2743" y="1666"/>
                  </a:lnTo>
                  <a:lnTo>
                    <a:pt x="2736" y="1674"/>
                  </a:lnTo>
                  <a:lnTo>
                    <a:pt x="2730" y="1683"/>
                  </a:lnTo>
                  <a:lnTo>
                    <a:pt x="2726" y="1693"/>
                  </a:lnTo>
                  <a:lnTo>
                    <a:pt x="2722" y="1703"/>
                  </a:lnTo>
                  <a:lnTo>
                    <a:pt x="2719" y="1714"/>
                  </a:lnTo>
                  <a:lnTo>
                    <a:pt x="2716" y="1726"/>
                  </a:lnTo>
                  <a:lnTo>
                    <a:pt x="2715" y="1737"/>
                  </a:lnTo>
                  <a:lnTo>
                    <a:pt x="2715" y="1750"/>
                  </a:lnTo>
                  <a:lnTo>
                    <a:pt x="2715" y="1750"/>
                  </a:lnTo>
                  <a:lnTo>
                    <a:pt x="2715" y="1762"/>
                  </a:lnTo>
                  <a:lnTo>
                    <a:pt x="2716" y="1774"/>
                  </a:lnTo>
                  <a:lnTo>
                    <a:pt x="2718" y="1786"/>
                  </a:lnTo>
                  <a:lnTo>
                    <a:pt x="2722" y="1797"/>
                  </a:lnTo>
                  <a:lnTo>
                    <a:pt x="2726" y="1807"/>
                  </a:lnTo>
                  <a:lnTo>
                    <a:pt x="2732" y="1817"/>
                  </a:lnTo>
                  <a:lnTo>
                    <a:pt x="2737" y="1826"/>
                  </a:lnTo>
                  <a:lnTo>
                    <a:pt x="2744" y="1834"/>
                  </a:lnTo>
                  <a:lnTo>
                    <a:pt x="2750" y="1840"/>
                  </a:lnTo>
                  <a:lnTo>
                    <a:pt x="2758" y="1847"/>
                  </a:lnTo>
                  <a:lnTo>
                    <a:pt x="2767" y="1853"/>
                  </a:lnTo>
                  <a:lnTo>
                    <a:pt x="2777" y="1857"/>
                  </a:lnTo>
                  <a:lnTo>
                    <a:pt x="2787" y="1860"/>
                  </a:lnTo>
                  <a:lnTo>
                    <a:pt x="2797" y="1864"/>
                  </a:lnTo>
                  <a:lnTo>
                    <a:pt x="2809" y="1865"/>
                  </a:lnTo>
                  <a:lnTo>
                    <a:pt x="2820" y="1866"/>
                  </a:lnTo>
                  <a:lnTo>
                    <a:pt x="2820" y="1866"/>
                  </a:lnTo>
                  <a:lnTo>
                    <a:pt x="2831" y="1865"/>
                  </a:lnTo>
                  <a:lnTo>
                    <a:pt x="2842" y="1864"/>
                  </a:lnTo>
                  <a:lnTo>
                    <a:pt x="2852" y="1860"/>
                  </a:lnTo>
                  <a:lnTo>
                    <a:pt x="2862" y="1857"/>
                  </a:lnTo>
                  <a:lnTo>
                    <a:pt x="2872" y="1851"/>
                  </a:lnTo>
                  <a:lnTo>
                    <a:pt x="2882" y="1846"/>
                  </a:lnTo>
                  <a:lnTo>
                    <a:pt x="2890" y="1838"/>
                  </a:lnTo>
                  <a:lnTo>
                    <a:pt x="2898" y="1830"/>
                  </a:lnTo>
                  <a:lnTo>
                    <a:pt x="2864" y="1796"/>
                  </a:lnTo>
                  <a:close/>
                  <a:moveTo>
                    <a:pt x="2771" y="1726"/>
                  </a:moveTo>
                  <a:lnTo>
                    <a:pt x="2771" y="1726"/>
                  </a:lnTo>
                  <a:lnTo>
                    <a:pt x="2772" y="1716"/>
                  </a:lnTo>
                  <a:lnTo>
                    <a:pt x="2776" y="1707"/>
                  </a:lnTo>
                  <a:lnTo>
                    <a:pt x="2779" y="1699"/>
                  </a:lnTo>
                  <a:lnTo>
                    <a:pt x="2783" y="1693"/>
                  </a:lnTo>
                  <a:lnTo>
                    <a:pt x="2790" y="1687"/>
                  </a:lnTo>
                  <a:lnTo>
                    <a:pt x="2797" y="1684"/>
                  </a:lnTo>
                  <a:lnTo>
                    <a:pt x="2804" y="1680"/>
                  </a:lnTo>
                  <a:lnTo>
                    <a:pt x="2813" y="1680"/>
                  </a:lnTo>
                  <a:lnTo>
                    <a:pt x="2813" y="1680"/>
                  </a:lnTo>
                  <a:lnTo>
                    <a:pt x="2823" y="1682"/>
                  </a:lnTo>
                  <a:lnTo>
                    <a:pt x="2831" y="1684"/>
                  </a:lnTo>
                  <a:lnTo>
                    <a:pt x="2839" y="1688"/>
                  </a:lnTo>
                  <a:lnTo>
                    <a:pt x="2844" y="1695"/>
                  </a:lnTo>
                  <a:lnTo>
                    <a:pt x="2849" y="1701"/>
                  </a:lnTo>
                  <a:lnTo>
                    <a:pt x="2852" y="1709"/>
                  </a:lnTo>
                  <a:lnTo>
                    <a:pt x="2854" y="1718"/>
                  </a:lnTo>
                  <a:lnTo>
                    <a:pt x="2855" y="1726"/>
                  </a:lnTo>
                  <a:lnTo>
                    <a:pt x="2771" y="1726"/>
                  </a:lnTo>
                  <a:close/>
                  <a:moveTo>
                    <a:pt x="2639" y="1783"/>
                  </a:moveTo>
                  <a:lnTo>
                    <a:pt x="2639" y="1783"/>
                  </a:lnTo>
                  <a:lnTo>
                    <a:pt x="2639" y="1791"/>
                  </a:lnTo>
                  <a:lnTo>
                    <a:pt x="2640" y="1796"/>
                  </a:lnTo>
                  <a:lnTo>
                    <a:pt x="2642" y="1802"/>
                  </a:lnTo>
                  <a:lnTo>
                    <a:pt x="2644" y="1806"/>
                  </a:lnTo>
                  <a:lnTo>
                    <a:pt x="2648" y="1810"/>
                  </a:lnTo>
                  <a:lnTo>
                    <a:pt x="2652" y="1812"/>
                  </a:lnTo>
                  <a:lnTo>
                    <a:pt x="2656" y="1813"/>
                  </a:lnTo>
                  <a:lnTo>
                    <a:pt x="2663" y="1813"/>
                  </a:lnTo>
                  <a:lnTo>
                    <a:pt x="2663" y="1813"/>
                  </a:lnTo>
                  <a:lnTo>
                    <a:pt x="2671" y="1813"/>
                  </a:lnTo>
                  <a:lnTo>
                    <a:pt x="2680" y="1811"/>
                  </a:lnTo>
                  <a:lnTo>
                    <a:pt x="2688" y="1807"/>
                  </a:lnTo>
                  <a:lnTo>
                    <a:pt x="2696" y="1803"/>
                  </a:lnTo>
                  <a:lnTo>
                    <a:pt x="2690" y="1855"/>
                  </a:lnTo>
                  <a:lnTo>
                    <a:pt x="2690" y="1855"/>
                  </a:lnTo>
                  <a:lnTo>
                    <a:pt x="2680" y="1859"/>
                  </a:lnTo>
                  <a:lnTo>
                    <a:pt x="2668" y="1862"/>
                  </a:lnTo>
                  <a:lnTo>
                    <a:pt x="2655" y="1865"/>
                  </a:lnTo>
                  <a:lnTo>
                    <a:pt x="2643" y="1866"/>
                  </a:lnTo>
                  <a:lnTo>
                    <a:pt x="2643" y="1866"/>
                  </a:lnTo>
                  <a:lnTo>
                    <a:pt x="2636" y="1865"/>
                  </a:lnTo>
                  <a:lnTo>
                    <a:pt x="2628" y="1864"/>
                  </a:lnTo>
                  <a:lnTo>
                    <a:pt x="2621" y="1861"/>
                  </a:lnTo>
                  <a:lnTo>
                    <a:pt x="2616" y="1859"/>
                  </a:lnTo>
                  <a:lnTo>
                    <a:pt x="2610" y="1856"/>
                  </a:lnTo>
                  <a:lnTo>
                    <a:pt x="2605" y="1853"/>
                  </a:lnTo>
                  <a:lnTo>
                    <a:pt x="2601" y="1848"/>
                  </a:lnTo>
                  <a:lnTo>
                    <a:pt x="2597" y="1843"/>
                  </a:lnTo>
                  <a:lnTo>
                    <a:pt x="2591" y="1833"/>
                  </a:lnTo>
                  <a:lnTo>
                    <a:pt x="2587" y="1821"/>
                  </a:lnTo>
                  <a:lnTo>
                    <a:pt x="2585" y="1810"/>
                  </a:lnTo>
                  <a:lnTo>
                    <a:pt x="2584" y="1797"/>
                  </a:lnTo>
                  <a:lnTo>
                    <a:pt x="2584" y="1689"/>
                  </a:lnTo>
                  <a:lnTo>
                    <a:pt x="2549" y="1689"/>
                  </a:lnTo>
                  <a:lnTo>
                    <a:pt x="2549" y="1639"/>
                  </a:lnTo>
                  <a:lnTo>
                    <a:pt x="2584" y="1639"/>
                  </a:lnTo>
                  <a:lnTo>
                    <a:pt x="2584" y="1581"/>
                  </a:lnTo>
                  <a:lnTo>
                    <a:pt x="2639" y="1554"/>
                  </a:lnTo>
                  <a:lnTo>
                    <a:pt x="2639" y="1639"/>
                  </a:lnTo>
                  <a:lnTo>
                    <a:pt x="2688" y="1639"/>
                  </a:lnTo>
                  <a:lnTo>
                    <a:pt x="2688" y="1689"/>
                  </a:lnTo>
                  <a:lnTo>
                    <a:pt x="2639" y="1689"/>
                  </a:lnTo>
                  <a:lnTo>
                    <a:pt x="2639" y="1783"/>
                  </a:lnTo>
                  <a:close/>
                  <a:moveTo>
                    <a:pt x="2532" y="1855"/>
                  </a:moveTo>
                  <a:lnTo>
                    <a:pt x="2532" y="1855"/>
                  </a:lnTo>
                  <a:lnTo>
                    <a:pt x="2522" y="1859"/>
                  </a:lnTo>
                  <a:lnTo>
                    <a:pt x="2511" y="1862"/>
                  </a:lnTo>
                  <a:lnTo>
                    <a:pt x="2499" y="1865"/>
                  </a:lnTo>
                  <a:lnTo>
                    <a:pt x="2487" y="1866"/>
                  </a:lnTo>
                  <a:lnTo>
                    <a:pt x="2487" y="1866"/>
                  </a:lnTo>
                  <a:lnTo>
                    <a:pt x="2478" y="1865"/>
                  </a:lnTo>
                  <a:lnTo>
                    <a:pt x="2471" y="1864"/>
                  </a:lnTo>
                  <a:lnTo>
                    <a:pt x="2464" y="1861"/>
                  </a:lnTo>
                  <a:lnTo>
                    <a:pt x="2458" y="1859"/>
                  </a:lnTo>
                  <a:lnTo>
                    <a:pt x="2453" y="1856"/>
                  </a:lnTo>
                  <a:lnTo>
                    <a:pt x="2448" y="1853"/>
                  </a:lnTo>
                  <a:lnTo>
                    <a:pt x="2443" y="1848"/>
                  </a:lnTo>
                  <a:lnTo>
                    <a:pt x="2440" y="1843"/>
                  </a:lnTo>
                  <a:lnTo>
                    <a:pt x="2434" y="1833"/>
                  </a:lnTo>
                  <a:lnTo>
                    <a:pt x="2430" y="1821"/>
                  </a:lnTo>
                  <a:lnTo>
                    <a:pt x="2427" y="1810"/>
                  </a:lnTo>
                  <a:lnTo>
                    <a:pt x="2427" y="1797"/>
                  </a:lnTo>
                  <a:lnTo>
                    <a:pt x="2427" y="1689"/>
                  </a:lnTo>
                  <a:lnTo>
                    <a:pt x="2393" y="1689"/>
                  </a:lnTo>
                  <a:lnTo>
                    <a:pt x="2393" y="1639"/>
                  </a:lnTo>
                  <a:lnTo>
                    <a:pt x="2427" y="1639"/>
                  </a:lnTo>
                  <a:lnTo>
                    <a:pt x="2427" y="1581"/>
                  </a:lnTo>
                  <a:lnTo>
                    <a:pt x="2482" y="1554"/>
                  </a:lnTo>
                  <a:lnTo>
                    <a:pt x="2482" y="1639"/>
                  </a:lnTo>
                  <a:lnTo>
                    <a:pt x="2528" y="1639"/>
                  </a:lnTo>
                  <a:lnTo>
                    <a:pt x="2528" y="1689"/>
                  </a:lnTo>
                  <a:lnTo>
                    <a:pt x="2482" y="1689"/>
                  </a:lnTo>
                  <a:lnTo>
                    <a:pt x="2482" y="1783"/>
                  </a:lnTo>
                  <a:lnTo>
                    <a:pt x="2482" y="1783"/>
                  </a:lnTo>
                  <a:lnTo>
                    <a:pt x="2482" y="1791"/>
                  </a:lnTo>
                  <a:lnTo>
                    <a:pt x="2483" y="1796"/>
                  </a:lnTo>
                  <a:lnTo>
                    <a:pt x="2485" y="1802"/>
                  </a:lnTo>
                  <a:lnTo>
                    <a:pt x="2488" y="1806"/>
                  </a:lnTo>
                  <a:lnTo>
                    <a:pt x="2491" y="1810"/>
                  </a:lnTo>
                  <a:lnTo>
                    <a:pt x="2495" y="1812"/>
                  </a:lnTo>
                  <a:lnTo>
                    <a:pt x="2500" y="1813"/>
                  </a:lnTo>
                  <a:lnTo>
                    <a:pt x="2505" y="1813"/>
                  </a:lnTo>
                  <a:lnTo>
                    <a:pt x="2505" y="1813"/>
                  </a:lnTo>
                  <a:lnTo>
                    <a:pt x="2514" y="1813"/>
                  </a:lnTo>
                  <a:lnTo>
                    <a:pt x="2523" y="1811"/>
                  </a:lnTo>
                  <a:lnTo>
                    <a:pt x="2531" y="1807"/>
                  </a:lnTo>
                  <a:lnTo>
                    <a:pt x="2538" y="1803"/>
                  </a:lnTo>
                  <a:lnTo>
                    <a:pt x="2532" y="1855"/>
                  </a:lnTo>
                  <a:close/>
                  <a:moveTo>
                    <a:pt x="3074" y="1700"/>
                  </a:moveTo>
                  <a:lnTo>
                    <a:pt x="3074" y="1700"/>
                  </a:lnTo>
                  <a:lnTo>
                    <a:pt x="3066" y="1695"/>
                  </a:lnTo>
                  <a:lnTo>
                    <a:pt x="3057" y="1691"/>
                  </a:lnTo>
                  <a:lnTo>
                    <a:pt x="3047" y="1689"/>
                  </a:lnTo>
                  <a:lnTo>
                    <a:pt x="3037" y="1688"/>
                  </a:lnTo>
                  <a:lnTo>
                    <a:pt x="3037" y="1688"/>
                  </a:lnTo>
                  <a:lnTo>
                    <a:pt x="3028" y="1689"/>
                  </a:lnTo>
                  <a:lnTo>
                    <a:pt x="3020" y="1691"/>
                  </a:lnTo>
                  <a:lnTo>
                    <a:pt x="3013" y="1696"/>
                  </a:lnTo>
                  <a:lnTo>
                    <a:pt x="3007" y="1701"/>
                  </a:lnTo>
                  <a:lnTo>
                    <a:pt x="3003" y="1708"/>
                  </a:lnTo>
                  <a:lnTo>
                    <a:pt x="3001" y="1717"/>
                  </a:lnTo>
                  <a:lnTo>
                    <a:pt x="2999" y="1728"/>
                  </a:lnTo>
                  <a:lnTo>
                    <a:pt x="2998" y="1740"/>
                  </a:lnTo>
                  <a:lnTo>
                    <a:pt x="2998" y="1860"/>
                  </a:lnTo>
                  <a:lnTo>
                    <a:pt x="2943" y="1860"/>
                  </a:lnTo>
                  <a:lnTo>
                    <a:pt x="2943" y="1639"/>
                  </a:lnTo>
                  <a:lnTo>
                    <a:pt x="2998" y="1639"/>
                  </a:lnTo>
                  <a:lnTo>
                    <a:pt x="2998" y="1657"/>
                  </a:lnTo>
                  <a:lnTo>
                    <a:pt x="2998" y="1657"/>
                  </a:lnTo>
                  <a:lnTo>
                    <a:pt x="3003" y="1652"/>
                  </a:lnTo>
                  <a:lnTo>
                    <a:pt x="3009" y="1646"/>
                  </a:lnTo>
                  <a:lnTo>
                    <a:pt x="3014" y="1643"/>
                  </a:lnTo>
                  <a:lnTo>
                    <a:pt x="3021" y="1640"/>
                  </a:lnTo>
                  <a:lnTo>
                    <a:pt x="3026" y="1636"/>
                  </a:lnTo>
                  <a:lnTo>
                    <a:pt x="3033" y="1635"/>
                  </a:lnTo>
                  <a:lnTo>
                    <a:pt x="3039" y="1634"/>
                  </a:lnTo>
                  <a:lnTo>
                    <a:pt x="3047" y="1633"/>
                  </a:lnTo>
                  <a:lnTo>
                    <a:pt x="3047" y="1633"/>
                  </a:lnTo>
                  <a:lnTo>
                    <a:pt x="3058" y="1634"/>
                  </a:lnTo>
                  <a:lnTo>
                    <a:pt x="3069" y="1637"/>
                  </a:lnTo>
                  <a:lnTo>
                    <a:pt x="3079" y="1641"/>
                  </a:lnTo>
                  <a:lnTo>
                    <a:pt x="3088" y="1646"/>
                  </a:lnTo>
                  <a:lnTo>
                    <a:pt x="3074" y="1700"/>
                  </a:lnTo>
                  <a:close/>
                  <a:moveTo>
                    <a:pt x="593" y="1579"/>
                  </a:moveTo>
                  <a:lnTo>
                    <a:pt x="593" y="1607"/>
                  </a:lnTo>
                  <a:lnTo>
                    <a:pt x="537" y="1607"/>
                  </a:lnTo>
                  <a:lnTo>
                    <a:pt x="537" y="1551"/>
                  </a:lnTo>
                  <a:lnTo>
                    <a:pt x="593" y="1551"/>
                  </a:lnTo>
                  <a:lnTo>
                    <a:pt x="593" y="1579"/>
                  </a:lnTo>
                  <a:close/>
                  <a:moveTo>
                    <a:pt x="975" y="1639"/>
                  </a:moveTo>
                  <a:lnTo>
                    <a:pt x="1030" y="1639"/>
                  </a:lnTo>
                  <a:lnTo>
                    <a:pt x="1030" y="1738"/>
                  </a:lnTo>
                  <a:lnTo>
                    <a:pt x="1030" y="1860"/>
                  </a:lnTo>
                  <a:lnTo>
                    <a:pt x="975" y="1860"/>
                  </a:lnTo>
                  <a:lnTo>
                    <a:pt x="975" y="1639"/>
                  </a:lnTo>
                  <a:close/>
                  <a:moveTo>
                    <a:pt x="1030" y="1579"/>
                  </a:moveTo>
                  <a:lnTo>
                    <a:pt x="1030" y="1607"/>
                  </a:lnTo>
                  <a:lnTo>
                    <a:pt x="975" y="1607"/>
                  </a:lnTo>
                  <a:lnTo>
                    <a:pt x="975" y="1551"/>
                  </a:lnTo>
                  <a:lnTo>
                    <a:pt x="1030" y="1551"/>
                  </a:lnTo>
                  <a:lnTo>
                    <a:pt x="1030" y="1579"/>
                  </a:lnTo>
                  <a:close/>
                  <a:moveTo>
                    <a:pt x="2539" y="2042"/>
                  </a:moveTo>
                  <a:lnTo>
                    <a:pt x="2539" y="2042"/>
                  </a:lnTo>
                  <a:lnTo>
                    <a:pt x="2534" y="2038"/>
                  </a:lnTo>
                  <a:lnTo>
                    <a:pt x="2528" y="2033"/>
                  </a:lnTo>
                  <a:lnTo>
                    <a:pt x="2523" y="2030"/>
                  </a:lnTo>
                  <a:lnTo>
                    <a:pt x="2516" y="2027"/>
                  </a:lnTo>
                  <a:lnTo>
                    <a:pt x="2511" y="2025"/>
                  </a:lnTo>
                  <a:lnTo>
                    <a:pt x="2504" y="2024"/>
                  </a:lnTo>
                  <a:lnTo>
                    <a:pt x="2490" y="2021"/>
                  </a:lnTo>
                  <a:lnTo>
                    <a:pt x="2490" y="2021"/>
                  </a:lnTo>
                  <a:lnTo>
                    <a:pt x="2480" y="2022"/>
                  </a:lnTo>
                  <a:lnTo>
                    <a:pt x="2471" y="2024"/>
                  </a:lnTo>
                  <a:lnTo>
                    <a:pt x="2462" y="2027"/>
                  </a:lnTo>
                  <a:lnTo>
                    <a:pt x="2453" y="2030"/>
                  </a:lnTo>
                  <a:lnTo>
                    <a:pt x="2446" y="2035"/>
                  </a:lnTo>
                  <a:lnTo>
                    <a:pt x="2439" y="2039"/>
                  </a:lnTo>
                  <a:lnTo>
                    <a:pt x="2432" y="2046"/>
                  </a:lnTo>
                  <a:lnTo>
                    <a:pt x="2426" y="2052"/>
                  </a:lnTo>
                  <a:lnTo>
                    <a:pt x="2421" y="2060"/>
                  </a:lnTo>
                  <a:lnTo>
                    <a:pt x="2416" y="2069"/>
                  </a:lnTo>
                  <a:lnTo>
                    <a:pt x="2413" y="2078"/>
                  </a:lnTo>
                  <a:lnTo>
                    <a:pt x="2409" y="2089"/>
                  </a:lnTo>
                  <a:lnTo>
                    <a:pt x="2406" y="2099"/>
                  </a:lnTo>
                  <a:lnTo>
                    <a:pt x="2405" y="2111"/>
                  </a:lnTo>
                  <a:lnTo>
                    <a:pt x="2404" y="2123"/>
                  </a:lnTo>
                  <a:lnTo>
                    <a:pt x="2403" y="2136"/>
                  </a:lnTo>
                  <a:lnTo>
                    <a:pt x="2403" y="2136"/>
                  </a:lnTo>
                  <a:lnTo>
                    <a:pt x="2404" y="2149"/>
                  </a:lnTo>
                  <a:lnTo>
                    <a:pt x="2405" y="2161"/>
                  </a:lnTo>
                  <a:lnTo>
                    <a:pt x="2406" y="2174"/>
                  </a:lnTo>
                  <a:lnTo>
                    <a:pt x="2409" y="2186"/>
                  </a:lnTo>
                  <a:lnTo>
                    <a:pt x="2411" y="2196"/>
                  </a:lnTo>
                  <a:lnTo>
                    <a:pt x="2416" y="2206"/>
                  </a:lnTo>
                  <a:lnTo>
                    <a:pt x="2420" y="2214"/>
                  </a:lnTo>
                  <a:lnTo>
                    <a:pt x="2426" y="2222"/>
                  </a:lnTo>
                  <a:lnTo>
                    <a:pt x="2431" y="2230"/>
                  </a:lnTo>
                  <a:lnTo>
                    <a:pt x="2438" y="2235"/>
                  </a:lnTo>
                  <a:lnTo>
                    <a:pt x="2445" y="2241"/>
                  </a:lnTo>
                  <a:lnTo>
                    <a:pt x="2452" y="2245"/>
                  </a:lnTo>
                  <a:lnTo>
                    <a:pt x="2461" y="2250"/>
                  </a:lnTo>
                  <a:lnTo>
                    <a:pt x="2470" y="2252"/>
                  </a:lnTo>
                  <a:lnTo>
                    <a:pt x="2479" y="2253"/>
                  </a:lnTo>
                  <a:lnTo>
                    <a:pt x="2489" y="2254"/>
                  </a:lnTo>
                  <a:lnTo>
                    <a:pt x="2489" y="2254"/>
                  </a:lnTo>
                  <a:lnTo>
                    <a:pt x="2495" y="2253"/>
                  </a:lnTo>
                  <a:lnTo>
                    <a:pt x="2503" y="2252"/>
                  </a:lnTo>
                  <a:lnTo>
                    <a:pt x="2510" y="2251"/>
                  </a:lnTo>
                  <a:lnTo>
                    <a:pt x="2515" y="2249"/>
                  </a:lnTo>
                  <a:lnTo>
                    <a:pt x="2522" y="2245"/>
                  </a:lnTo>
                  <a:lnTo>
                    <a:pt x="2528" y="2242"/>
                  </a:lnTo>
                  <a:lnTo>
                    <a:pt x="2534" y="2238"/>
                  </a:lnTo>
                  <a:lnTo>
                    <a:pt x="2539" y="2232"/>
                  </a:lnTo>
                  <a:lnTo>
                    <a:pt x="2539" y="2249"/>
                  </a:lnTo>
                  <a:lnTo>
                    <a:pt x="2595" y="2249"/>
                  </a:lnTo>
                  <a:lnTo>
                    <a:pt x="2595" y="1934"/>
                  </a:lnTo>
                  <a:lnTo>
                    <a:pt x="2539" y="1962"/>
                  </a:lnTo>
                  <a:lnTo>
                    <a:pt x="2539" y="2042"/>
                  </a:lnTo>
                  <a:close/>
                  <a:moveTo>
                    <a:pt x="2501" y="2203"/>
                  </a:moveTo>
                  <a:lnTo>
                    <a:pt x="2501" y="2203"/>
                  </a:lnTo>
                  <a:lnTo>
                    <a:pt x="2493" y="2202"/>
                  </a:lnTo>
                  <a:lnTo>
                    <a:pt x="2487" y="2200"/>
                  </a:lnTo>
                  <a:lnTo>
                    <a:pt x="2479" y="2197"/>
                  </a:lnTo>
                  <a:lnTo>
                    <a:pt x="2472" y="2190"/>
                  </a:lnTo>
                  <a:lnTo>
                    <a:pt x="2467" y="2181"/>
                  </a:lnTo>
                  <a:lnTo>
                    <a:pt x="2462" y="2169"/>
                  </a:lnTo>
                  <a:lnTo>
                    <a:pt x="2460" y="2154"/>
                  </a:lnTo>
                  <a:lnTo>
                    <a:pt x="2459" y="2134"/>
                  </a:lnTo>
                  <a:lnTo>
                    <a:pt x="2459" y="2134"/>
                  </a:lnTo>
                  <a:lnTo>
                    <a:pt x="2460" y="2117"/>
                  </a:lnTo>
                  <a:lnTo>
                    <a:pt x="2462" y="2103"/>
                  </a:lnTo>
                  <a:lnTo>
                    <a:pt x="2467" y="2092"/>
                  </a:lnTo>
                  <a:lnTo>
                    <a:pt x="2472" y="2084"/>
                  </a:lnTo>
                  <a:lnTo>
                    <a:pt x="2479" y="2079"/>
                  </a:lnTo>
                  <a:lnTo>
                    <a:pt x="2485" y="2074"/>
                  </a:lnTo>
                  <a:lnTo>
                    <a:pt x="2493" y="2073"/>
                  </a:lnTo>
                  <a:lnTo>
                    <a:pt x="2500" y="2072"/>
                  </a:lnTo>
                  <a:lnTo>
                    <a:pt x="2500" y="2072"/>
                  </a:lnTo>
                  <a:lnTo>
                    <a:pt x="2507" y="2073"/>
                  </a:lnTo>
                  <a:lnTo>
                    <a:pt x="2514" y="2074"/>
                  </a:lnTo>
                  <a:lnTo>
                    <a:pt x="2520" y="2076"/>
                  </a:lnTo>
                  <a:lnTo>
                    <a:pt x="2525" y="2080"/>
                  </a:lnTo>
                  <a:lnTo>
                    <a:pt x="2530" y="2083"/>
                  </a:lnTo>
                  <a:lnTo>
                    <a:pt x="2534" y="2086"/>
                  </a:lnTo>
                  <a:lnTo>
                    <a:pt x="2539" y="2094"/>
                  </a:lnTo>
                  <a:lnTo>
                    <a:pt x="2539" y="2181"/>
                  </a:lnTo>
                  <a:lnTo>
                    <a:pt x="2539" y="2181"/>
                  </a:lnTo>
                  <a:lnTo>
                    <a:pt x="2533" y="2189"/>
                  </a:lnTo>
                  <a:lnTo>
                    <a:pt x="2525" y="2196"/>
                  </a:lnTo>
                  <a:lnTo>
                    <a:pt x="2520" y="2199"/>
                  </a:lnTo>
                  <a:lnTo>
                    <a:pt x="2514" y="2201"/>
                  </a:lnTo>
                  <a:lnTo>
                    <a:pt x="2507" y="2202"/>
                  </a:lnTo>
                  <a:lnTo>
                    <a:pt x="2501" y="2203"/>
                  </a:lnTo>
                  <a:lnTo>
                    <a:pt x="2501" y="2203"/>
                  </a:lnTo>
                  <a:close/>
                  <a:moveTo>
                    <a:pt x="672" y="2089"/>
                  </a:moveTo>
                  <a:lnTo>
                    <a:pt x="672" y="2089"/>
                  </a:lnTo>
                  <a:lnTo>
                    <a:pt x="664" y="2084"/>
                  </a:lnTo>
                  <a:lnTo>
                    <a:pt x="656" y="2080"/>
                  </a:lnTo>
                  <a:lnTo>
                    <a:pt x="646" y="2078"/>
                  </a:lnTo>
                  <a:lnTo>
                    <a:pt x="636" y="2076"/>
                  </a:lnTo>
                  <a:lnTo>
                    <a:pt x="636" y="2076"/>
                  </a:lnTo>
                  <a:lnTo>
                    <a:pt x="627" y="2078"/>
                  </a:lnTo>
                  <a:lnTo>
                    <a:pt x="618" y="2080"/>
                  </a:lnTo>
                  <a:lnTo>
                    <a:pt x="611" y="2084"/>
                  </a:lnTo>
                  <a:lnTo>
                    <a:pt x="606" y="2090"/>
                  </a:lnTo>
                  <a:lnTo>
                    <a:pt x="601" y="2096"/>
                  </a:lnTo>
                  <a:lnTo>
                    <a:pt x="599" y="2105"/>
                  </a:lnTo>
                  <a:lnTo>
                    <a:pt x="597" y="2116"/>
                  </a:lnTo>
                  <a:lnTo>
                    <a:pt x="596" y="2128"/>
                  </a:lnTo>
                  <a:lnTo>
                    <a:pt x="596" y="2249"/>
                  </a:lnTo>
                  <a:lnTo>
                    <a:pt x="542" y="2249"/>
                  </a:lnTo>
                  <a:lnTo>
                    <a:pt x="542" y="2027"/>
                  </a:lnTo>
                  <a:lnTo>
                    <a:pt x="596" y="2027"/>
                  </a:lnTo>
                  <a:lnTo>
                    <a:pt x="596" y="2046"/>
                  </a:lnTo>
                  <a:lnTo>
                    <a:pt x="596" y="2046"/>
                  </a:lnTo>
                  <a:lnTo>
                    <a:pt x="601" y="2040"/>
                  </a:lnTo>
                  <a:lnTo>
                    <a:pt x="607" y="2035"/>
                  </a:lnTo>
                  <a:lnTo>
                    <a:pt x="613" y="2031"/>
                  </a:lnTo>
                  <a:lnTo>
                    <a:pt x="619" y="2028"/>
                  </a:lnTo>
                  <a:lnTo>
                    <a:pt x="625" y="2025"/>
                  </a:lnTo>
                  <a:lnTo>
                    <a:pt x="631" y="2024"/>
                  </a:lnTo>
                  <a:lnTo>
                    <a:pt x="639" y="2022"/>
                  </a:lnTo>
                  <a:lnTo>
                    <a:pt x="646" y="2021"/>
                  </a:lnTo>
                  <a:lnTo>
                    <a:pt x="646" y="2021"/>
                  </a:lnTo>
                  <a:lnTo>
                    <a:pt x="657" y="2022"/>
                  </a:lnTo>
                  <a:lnTo>
                    <a:pt x="668" y="2026"/>
                  </a:lnTo>
                  <a:lnTo>
                    <a:pt x="679" y="2030"/>
                  </a:lnTo>
                  <a:lnTo>
                    <a:pt x="688" y="2036"/>
                  </a:lnTo>
                  <a:lnTo>
                    <a:pt x="672" y="2089"/>
                  </a:lnTo>
                  <a:close/>
                  <a:moveTo>
                    <a:pt x="241" y="2027"/>
                  </a:moveTo>
                  <a:lnTo>
                    <a:pt x="295" y="2027"/>
                  </a:lnTo>
                  <a:lnTo>
                    <a:pt x="232" y="2249"/>
                  </a:lnTo>
                  <a:lnTo>
                    <a:pt x="184" y="2249"/>
                  </a:lnTo>
                  <a:lnTo>
                    <a:pt x="160" y="2157"/>
                  </a:lnTo>
                  <a:lnTo>
                    <a:pt x="160" y="2157"/>
                  </a:lnTo>
                  <a:lnTo>
                    <a:pt x="148" y="2108"/>
                  </a:lnTo>
                  <a:lnTo>
                    <a:pt x="148" y="2108"/>
                  </a:lnTo>
                  <a:lnTo>
                    <a:pt x="142" y="2132"/>
                  </a:lnTo>
                  <a:lnTo>
                    <a:pt x="136" y="2158"/>
                  </a:lnTo>
                  <a:lnTo>
                    <a:pt x="110" y="2249"/>
                  </a:lnTo>
                  <a:lnTo>
                    <a:pt x="63" y="2249"/>
                  </a:lnTo>
                  <a:lnTo>
                    <a:pt x="63" y="2247"/>
                  </a:lnTo>
                  <a:lnTo>
                    <a:pt x="0" y="2027"/>
                  </a:lnTo>
                  <a:lnTo>
                    <a:pt x="57" y="2027"/>
                  </a:lnTo>
                  <a:lnTo>
                    <a:pt x="77" y="2110"/>
                  </a:lnTo>
                  <a:lnTo>
                    <a:pt x="77" y="2110"/>
                  </a:lnTo>
                  <a:lnTo>
                    <a:pt x="83" y="2136"/>
                  </a:lnTo>
                  <a:lnTo>
                    <a:pt x="88" y="2164"/>
                  </a:lnTo>
                  <a:lnTo>
                    <a:pt x="88" y="2164"/>
                  </a:lnTo>
                  <a:lnTo>
                    <a:pt x="95" y="2136"/>
                  </a:lnTo>
                  <a:lnTo>
                    <a:pt x="102" y="2108"/>
                  </a:lnTo>
                  <a:lnTo>
                    <a:pt x="125" y="2027"/>
                  </a:lnTo>
                  <a:lnTo>
                    <a:pt x="172" y="2027"/>
                  </a:lnTo>
                  <a:lnTo>
                    <a:pt x="195" y="2108"/>
                  </a:lnTo>
                  <a:lnTo>
                    <a:pt x="195" y="2108"/>
                  </a:lnTo>
                  <a:lnTo>
                    <a:pt x="202" y="2135"/>
                  </a:lnTo>
                  <a:lnTo>
                    <a:pt x="209" y="2165"/>
                  </a:lnTo>
                  <a:lnTo>
                    <a:pt x="209" y="2165"/>
                  </a:lnTo>
                  <a:lnTo>
                    <a:pt x="213" y="2139"/>
                  </a:lnTo>
                  <a:lnTo>
                    <a:pt x="220" y="2108"/>
                  </a:lnTo>
                  <a:lnTo>
                    <a:pt x="241" y="2027"/>
                  </a:lnTo>
                  <a:close/>
                  <a:moveTo>
                    <a:pt x="406" y="2021"/>
                  </a:moveTo>
                  <a:lnTo>
                    <a:pt x="406" y="2021"/>
                  </a:lnTo>
                  <a:lnTo>
                    <a:pt x="396" y="2022"/>
                  </a:lnTo>
                  <a:lnTo>
                    <a:pt x="385" y="2024"/>
                  </a:lnTo>
                  <a:lnTo>
                    <a:pt x="375" y="2027"/>
                  </a:lnTo>
                  <a:lnTo>
                    <a:pt x="366" y="2030"/>
                  </a:lnTo>
                  <a:lnTo>
                    <a:pt x="358" y="2035"/>
                  </a:lnTo>
                  <a:lnTo>
                    <a:pt x="349" y="2040"/>
                  </a:lnTo>
                  <a:lnTo>
                    <a:pt x="341" y="2047"/>
                  </a:lnTo>
                  <a:lnTo>
                    <a:pt x="334" y="2054"/>
                  </a:lnTo>
                  <a:lnTo>
                    <a:pt x="328" y="2062"/>
                  </a:lnTo>
                  <a:lnTo>
                    <a:pt x="322" y="2071"/>
                  </a:lnTo>
                  <a:lnTo>
                    <a:pt x="317" y="2081"/>
                  </a:lnTo>
                  <a:lnTo>
                    <a:pt x="313" y="2091"/>
                  </a:lnTo>
                  <a:lnTo>
                    <a:pt x="310" y="2102"/>
                  </a:lnTo>
                  <a:lnTo>
                    <a:pt x="308" y="2113"/>
                  </a:lnTo>
                  <a:lnTo>
                    <a:pt x="306" y="2125"/>
                  </a:lnTo>
                  <a:lnTo>
                    <a:pt x="306" y="2138"/>
                  </a:lnTo>
                  <a:lnTo>
                    <a:pt x="306" y="2138"/>
                  </a:lnTo>
                  <a:lnTo>
                    <a:pt x="306" y="2150"/>
                  </a:lnTo>
                  <a:lnTo>
                    <a:pt x="308" y="2163"/>
                  </a:lnTo>
                  <a:lnTo>
                    <a:pt x="310" y="2174"/>
                  </a:lnTo>
                  <a:lnTo>
                    <a:pt x="313" y="2185"/>
                  </a:lnTo>
                  <a:lnTo>
                    <a:pt x="317" y="2194"/>
                  </a:lnTo>
                  <a:lnTo>
                    <a:pt x="322" y="2204"/>
                  </a:lnTo>
                  <a:lnTo>
                    <a:pt x="328" y="2213"/>
                  </a:lnTo>
                  <a:lnTo>
                    <a:pt x="334" y="2221"/>
                  </a:lnTo>
                  <a:lnTo>
                    <a:pt x="341" y="2229"/>
                  </a:lnTo>
                  <a:lnTo>
                    <a:pt x="349" y="2235"/>
                  </a:lnTo>
                  <a:lnTo>
                    <a:pt x="358" y="2241"/>
                  </a:lnTo>
                  <a:lnTo>
                    <a:pt x="366" y="2245"/>
                  </a:lnTo>
                  <a:lnTo>
                    <a:pt x="375" y="2249"/>
                  </a:lnTo>
                  <a:lnTo>
                    <a:pt x="385" y="2252"/>
                  </a:lnTo>
                  <a:lnTo>
                    <a:pt x="396" y="2253"/>
                  </a:lnTo>
                  <a:lnTo>
                    <a:pt x="406" y="2254"/>
                  </a:lnTo>
                  <a:lnTo>
                    <a:pt x="406" y="2254"/>
                  </a:lnTo>
                  <a:lnTo>
                    <a:pt x="417" y="2253"/>
                  </a:lnTo>
                  <a:lnTo>
                    <a:pt x="428" y="2252"/>
                  </a:lnTo>
                  <a:lnTo>
                    <a:pt x="438" y="2249"/>
                  </a:lnTo>
                  <a:lnTo>
                    <a:pt x="447" y="2245"/>
                  </a:lnTo>
                  <a:lnTo>
                    <a:pt x="456" y="2241"/>
                  </a:lnTo>
                  <a:lnTo>
                    <a:pt x="465" y="2235"/>
                  </a:lnTo>
                  <a:lnTo>
                    <a:pt x="472" y="2229"/>
                  </a:lnTo>
                  <a:lnTo>
                    <a:pt x="479" y="2221"/>
                  </a:lnTo>
                  <a:lnTo>
                    <a:pt x="486" y="2213"/>
                  </a:lnTo>
                  <a:lnTo>
                    <a:pt x="491" y="2204"/>
                  </a:lnTo>
                  <a:lnTo>
                    <a:pt x="496" y="2194"/>
                  </a:lnTo>
                  <a:lnTo>
                    <a:pt x="500" y="2185"/>
                  </a:lnTo>
                  <a:lnTo>
                    <a:pt x="503" y="2174"/>
                  </a:lnTo>
                  <a:lnTo>
                    <a:pt x="505" y="2163"/>
                  </a:lnTo>
                  <a:lnTo>
                    <a:pt x="508" y="2150"/>
                  </a:lnTo>
                  <a:lnTo>
                    <a:pt x="508" y="2138"/>
                  </a:lnTo>
                  <a:lnTo>
                    <a:pt x="508" y="2138"/>
                  </a:lnTo>
                  <a:lnTo>
                    <a:pt x="508" y="2125"/>
                  </a:lnTo>
                  <a:lnTo>
                    <a:pt x="505" y="2113"/>
                  </a:lnTo>
                  <a:lnTo>
                    <a:pt x="503" y="2102"/>
                  </a:lnTo>
                  <a:lnTo>
                    <a:pt x="500" y="2091"/>
                  </a:lnTo>
                  <a:lnTo>
                    <a:pt x="496" y="2081"/>
                  </a:lnTo>
                  <a:lnTo>
                    <a:pt x="491" y="2071"/>
                  </a:lnTo>
                  <a:lnTo>
                    <a:pt x="486" y="2062"/>
                  </a:lnTo>
                  <a:lnTo>
                    <a:pt x="479" y="2054"/>
                  </a:lnTo>
                  <a:lnTo>
                    <a:pt x="472" y="2047"/>
                  </a:lnTo>
                  <a:lnTo>
                    <a:pt x="465" y="2040"/>
                  </a:lnTo>
                  <a:lnTo>
                    <a:pt x="456" y="2035"/>
                  </a:lnTo>
                  <a:lnTo>
                    <a:pt x="447" y="2030"/>
                  </a:lnTo>
                  <a:lnTo>
                    <a:pt x="438" y="2027"/>
                  </a:lnTo>
                  <a:lnTo>
                    <a:pt x="428" y="2024"/>
                  </a:lnTo>
                  <a:lnTo>
                    <a:pt x="417" y="2022"/>
                  </a:lnTo>
                  <a:lnTo>
                    <a:pt x="406" y="2021"/>
                  </a:lnTo>
                  <a:lnTo>
                    <a:pt x="406" y="2021"/>
                  </a:lnTo>
                  <a:close/>
                  <a:moveTo>
                    <a:pt x="406" y="2202"/>
                  </a:moveTo>
                  <a:lnTo>
                    <a:pt x="406" y="2202"/>
                  </a:lnTo>
                  <a:lnTo>
                    <a:pt x="396" y="2201"/>
                  </a:lnTo>
                  <a:lnTo>
                    <a:pt x="387" y="2198"/>
                  </a:lnTo>
                  <a:lnTo>
                    <a:pt x="381" y="2192"/>
                  </a:lnTo>
                  <a:lnTo>
                    <a:pt x="374" y="2185"/>
                  </a:lnTo>
                  <a:lnTo>
                    <a:pt x="369" y="2176"/>
                  </a:lnTo>
                  <a:lnTo>
                    <a:pt x="364" y="2165"/>
                  </a:lnTo>
                  <a:lnTo>
                    <a:pt x="362" y="2151"/>
                  </a:lnTo>
                  <a:lnTo>
                    <a:pt x="362" y="2138"/>
                  </a:lnTo>
                  <a:lnTo>
                    <a:pt x="362" y="2138"/>
                  </a:lnTo>
                  <a:lnTo>
                    <a:pt x="362" y="2124"/>
                  </a:lnTo>
                  <a:lnTo>
                    <a:pt x="364" y="2111"/>
                  </a:lnTo>
                  <a:lnTo>
                    <a:pt x="369" y="2101"/>
                  </a:lnTo>
                  <a:lnTo>
                    <a:pt x="374" y="2091"/>
                  </a:lnTo>
                  <a:lnTo>
                    <a:pt x="381" y="2083"/>
                  </a:lnTo>
                  <a:lnTo>
                    <a:pt x="387" y="2078"/>
                  </a:lnTo>
                  <a:lnTo>
                    <a:pt x="396" y="2074"/>
                  </a:lnTo>
                  <a:lnTo>
                    <a:pt x="406" y="2073"/>
                  </a:lnTo>
                  <a:lnTo>
                    <a:pt x="406" y="2073"/>
                  </a:lnTo>
                  <a:lnTo>
                    <a:pt x="416" y="2074"/>
                  </a:lnTo>
                  <a:lnTo>
                    <a:pt x="425" y="2078"/>
                  </a:lnTo>
                  <a:lnTo>
                    <a:pt x="433" y="2083"/>
                  </a:lnTo>
                  <a:lnTo>
                    <a:pt x="439" y="2091"/>
                  </a:lnTo>
                  <a:lnTo>
                    <a:pt x="445" y="2101"/>
                  </a:lnTo>
                  <a:lnTo>
                    <a:pt x="448" y="2111"/>
                  </a:lnTo>
                  <a:lnTo>
                    <a:pt x="450" y="2124"/>
                  </a:lnTo>
                  <a:lnTo>
                    <a:pt x="451" y="2138"/>
                  </a:lnTo>
                  <a:lnTo>
                    <a:pt x="451" y="2138"/>
                  </a:lnTo>
                  <a:lnTo>
                    <a:pt x="450" y="2151"/>
                  </a:lnTo>
                  <a:lnTo>
                    <a:pt x="448" y="2165"/>
                  </a:lnTo>
                  <a:lnTo>
                    <a:pt x="445" y="2176"/>
                  </a:lnTo>
                  <a:lnTo>
                    <a:pt x="439" y="2185"/>
                  </a:lnTo>
                  <a:lnTo>
                    <a:pt x="433" y="2192"/>
                  </a:lnTo>
                  <a:lnTo>
                    <a:pt x="425" y="2198"/>
                  </a:lnTo>
                  <a:lnTo>
                    <a:pt x="416" y="2201"/>
                  </a:lnTo>
                  <a:lnTo>
                    <a:pt x="406" y="2202"/>
                  </a:lnTo>
                  <a:lnTo>
                    <a:pt x="406" y="2202"/>
                  </a:lnTo>
                  <a:close/>
                  <a:moveTo>
                    <a:pt x="2269" y="2089"/>
                  </a:moveTo>
                  <a:lnTo>
                    <a:pt x="2269" y="2089"/>
                  </a:lnTo>
                  <a:lnTo>
                    <a:pt x="2260" y="2084"/>
                  </a:lnTo>
                  <a:lnTo>
                    <a:pt x="2251" y="2080"/>
                  </a:lnTo>
                  <a:lnTo>
                    <a:pt x="2242" y="2078"/>
                  </a:lnTo>
                  <a:lnTo>
                    <a:pt x="2233" y="2076"/>
                  </a:lnTo>
                  <a:lnTo>
                    <a:pt x="2233" y="2076"/>
                  </a:lnTo>
                  <a:lnTo>
                    <a:pt x="2223" y="2078"/>
                  </a:lnTo>
                  <a:lnTo>
                    <a:pt x="2215" y="2080"/>
                  </a:lnTo>
                  <a:lnTo>
                    <a:pt x="2208" y="2084"/>
                  </a:lnTo>
                  <a:lnTo>
                    <a:pt x="2203" y="2090"/>
                  </a:lnTo>
                  <a:lnTo>
                    <a:pt x="2198" y="2096"/>
                  </a:lnTo>
                  <a:lnTo>
                    <a:pt x="2195" y="2105"/>
                  </a:lnTo>
                  <a:lnTo>
                    <a:pt x="2193" y="2116"/>
                  </a:lnTo>
                  <a:lnTo>
                    <a:pt x="2193" y="2128"/>
                  </a:lnTo>
                  <a:lnTo>
                    <a:pt x="2193" y="2249"/>
                  </a:lnTo>
                  <a:lnTo>
                    <a:pt x="2138" y="2249"/>
                  </a:lnTo>
                  <a:lnTo>
                    <a:pt x="2138" y="2027"/>
                  </a:lnTo>
                  <a:lnTo>
                    <a:pt x="2193" y="2027"/>
                  </a:lnTo>
                  <a:lnTo>
                    <a:pt x="2193" y="2046"/>
                  </a:lnTo>
                  <a:lnTo>
                    <a:pt x="2193" y="2046"/>
                  </a:lnTo>
                  <a:lnTo>
                    <a:pt x="2197" y="2040"/>
                  </a:lnTo>
                  <a:lnTo>
                    <a:pt x="2203" y="2035"/>
                  </a:lnTo>
                  <a:lnTo>
                    <a:pt x="2208" y="2031"/>
                  </a:lnTo>
                  <a:lnTo>
                    <a:pt x="2215" y="2028"/>
                  </a:lnTo>
                  <a:lnTo>
                    <a:pt x="2222" y="2025"/>
                  </a:lnTo>
                  <a:lnTo>
                    <a:pt x="2228" y="2024"/>
                  </a:lnTo>
                  <a:lnTo>
                    <a:pt x="2235" y="2022"/>
                  </a:lnTo>
                  <a:lnTo>
                    <a:pt x="2242" y="2021"/>
                  </a:lnTo>
                  <a:lnTo>
                    <a:pt x="2242" y="2021"/>
                  </a:lnTo>
                  <a:lnTo>
                    <a:pt x="2253" y="2022"/>
                  </a:lnTo>
                  <a:lnTo>
                    <a:pt x="2264" y="2026"/>
                  </a:lnTo>
                  <a:lnTo>
                    <a:pt x="2275" y="2030"/>
                  </a:lnTo>
                  <a:lnTo>
                    <a:pt x="2283" y="2036"/>
                  </a:lnTo>
                  <a:lnTo>
                    <a:pt x="2269" y="2089"/>
                  </a:lnTo>
                  <a:close/>
                  <a:moveTo>
                    <a:pt x="1836" y="2027"/>
                  </a:moveTo>
                  <a:lnTo>
                    <a:pt x="1891" y="2027"/>
                  </a:lnTo>
                  <a:lnTo>
                    <a:pt x="1828" y="2249"/>
                  </a:lnTo>
                  <a:lnTo>
                    <a:pt x="1780" y="2249"/>
                  </a:lnTo>
                  <a:lnTo>
                    <a:pt x="1756" y="2157"/>
                  </a:lnTo>
                  <a:lnTo>
                    <a:pt x="1756" y="2157"/>
                  </a:lnTo>
                  <a:lnTo>
                    <a:pt x="1744" y="2108"/>
                  </a:lnTo>
                  <a:lnTo>
                    <a:pt x="1744" y="2108"/>
                  </a:lnTo>
                  <a:lnTo>
                    <a:pt x="1738" y="2132"/>
                  </a:lnTo>
                  <a:lnTo>
                    <a:pt x="1732" y="2158"/>
                  </a:lnTo>
                  <a:lnTo>
                    <a:pt x="1707" y="2249"/>
                  </a:lnTo>
                  <a:lnTo>
                    <a:pt x="1660" y="2249"/>
                  </a:lnTo>
                  <a:lnTo>
                    <a:pt x="1659" y="2247"/>
                  </a:lnTo>
                  <a:lnTo>
                    <a:pt x="1597" y="2027"/>
                  </a:lnTo>
                  <a:lnTo>
                    <a:pt x="1653" y="2027"/>
                  </a:lnTo>
                  <a:lnTo>
                    <a:pt x="1674" y="2110"/>
                  </a:lnTo>
                  <a:lnTo>
                    <a:pt x="1674" y="2110"/>
                  </a:lnTo>
                  <a:lnTo>
                    <a:pt x="1680" y="2136"/>
                  </a:lnTo>
                  <a:lnTo>
                    <a:pt x="1685" y="2164"/>
                  </a:lnTo>
                  <a:lnTo>
                    <a:pt x="1685" y="2164"/>
                  </a:lnTo>
                  <a:lnTo>
                    <a:pt x="1691" y="2136"/>
                  </a:lnTo>
                  <a:lnTo>
                    <a:pt x="1699" y="2108"/>
                  </a:lnTo>
                  <a:lnTo>
                    <a:pt x="1722" y="2027"/>
                  </a:lnTo>
                  <a:lnTo>
                    <a:pt x="1768" y="2027"/>
                  </a:lnTo>
                  <a:lnTo>
                    <a:pt x="1791" y="2108"/>
                  </a:lnTo>
                  <a:lnTo>
                    <a:pt x="1791" y="2108"/>
                  </a:lnTo>
                  <a:lnTo>
                    <a:pt x="1798" y="2135"/>
                  </a:lnTo>
                  <a:lnTo>
                    <a:pt x="1804" y="2165"/>
                  </a:lnTo>
                  <a:lnTo>
                    <a:pt x="1804" y="2165"/>
                  </a:lnTo>
                  <a:lnTo>
                    <a:pt x="1810" y="2139"/>
                  </a:lnTo>
                  <a:lnTo>
                    <a:pt x="1817" y="2108"/>
                  </a:lnTo>
                  <a:lnTo>
                    <a:pt x="1836" y="2027"/>
                  </a:lnTo>
                  <a:close/>
                  <a:moveTo>
                    <a:pt x="2002" y="2021"/>
                  </a:moveTo>
                  <a:lnTo>
                    <a:pt x="2002" y="2021"/>
                  </a:lnTo>
                  <a:lnTo>
                    <a:pt x="1992" y="2022"/>
                  </a:lnTo>
                  <a:lnTo>
                    <a:pt x="1981" y="2024"/>
                  </a:lnTo>
                  <a:lnTo>
                    <a:pt x="1971" y="2027"/>
                  </a:lnTo>
                  <a:lnTo>
                    <a:pt x="1962" y="2030"/>
                  </a:lnTo>
                  <a:lnTo>
                    <a:pt x="1953" y="2035"/>
                  </a:lnTo>
                  <a:lnTo>
                    <a:pt x="1945" y="2041"/>
                  </a:lnTo>
                  <a:lnTo>
                    <a:pt x="1937" y="2047"/>
                  </a:lnTo>
                  <a:lnTo>
                    <a:pt x="1930" y="2054"/>
                  </a:lnTo>
                  <a:lnTo>
                    <a:pt x="1924" y="2062"/>
                  </a:lnTo>
                  <a:lnTo>
                    <a:pt x="1918" y="2071"/>
                  </a:lnTo>
                  <a:lnTo>
                    <a:pt x="1913" y="2081"/>
                  </a:lnTo>
                  <a:lnTo>
                    <a:pt x="1909" y="2091"/>
                  </a:lnTo>
                  <a:lnTo>
                    <a:pt x="1906" y="2102"/>
                  </a:lnTo>
                  <a:lnTo>
                    <a:pt x="1903" y="2114"/>
                  </a:lnTo>
                  <a:lnTo>
                    <a:pt x="1902" y="2125"/>
                  </a:lnTo>
                  <a:lnTo>
                    <a:pt x="1902" y="2138"/>
                  </a:lnTo>
                  <a:lnTo>
                    <a:pt x="1902" y="2138"/>
                  </a:lnTo>
                  <a:lnTo>
                    <a:pt x="1902" y="2150"/>
                  </a:lnTo>
                  <a:lnTo>
                    <a:pt x="1903" y="2163"/>
                  </a:lnTo>
                  <a:lnTo>
                    <a:pt x="1906" y="2174"/>
                  </a:lnTo>
                  <a:lnTo>
                    <a:pt x="1909" y="2185"/>
                  </a:lnTo>
                  <a:lnTo>
                    <a:pt x="1913" y="2194"/>
                  </a:lnTo>
                  <a:lnTo>
                    <a:pt x="1918" y="2204"/>
                  </a:lnTo>
                  <a:lnTo>
                    <a:pt x="1924" y="2213"/>
                  </a:lnTo>
                  <a:lnTo>
                    <a:pt x="1930" y="2221"/>
                  </a:lnTo>
                  <a:lnTo>
                    <a:pt x="1937" y="2229"/>
                  </a:lnTo>
                  <a:lnTo>
                    <a:pt x="1945" y="2235"/>
                  </a:lnTo>
                  <a:lnTo>
                    <a:pt x="1953" y="2241"/>
                  </a:lnTo>
                  <a:lnTo>
                    <a:pt x="1962" y="2245"/>
                  </a:lnTo>
                  <a:lnTo>
                    <a:pt x="1971" y="2249"/>
                  </a:lnTo>
                  <a:lnTo>
                    <a:pt x="1981" y="2252"/>
                  </a:lnTo>
                  <a:lnTo>
                    <a:pt x="1992" y="2253"/>
                  </a:lnTo>
                  <a:lnTo>
                    <a:pt x="2002" y="2254"/>
                  </a:lnTo>
                  <a:lnTo>
                    <a:pt x="2002" y="2254"/>
                  </a:lnTo>
                  <a:lnTo>
                    <a:pt x="2013" y="2253"/>
                  </a:lnTo>
                  <a:lnTo>
                    <a:pt x="2024" y="2252"/>
                  </a:lnTo>
                  <a:lnTo>
                    <a:pt x="2034" y="2249"/>
                  </a:lnTo>
                  <a:lnTo>
                    <a:pt x="2043" y="2245"/>
                  </a:lnTo>
                  <a:lnTo>
                    <a:pt x="2052" y="2241"/>
                  </a:lnTo>
                  <a:lnTo>
                    <a:pt x="2061" y="2235"/>
                  </a:lnTo>
                  <a:lnTo>
                    <a:pt x="2068" y="2229"/>
                  </a:lnTo>
                  <a:lnTo>
                    <a:pt x="2075" y="2221"/>
                  </a:lnTo>
                  <a:lnTo>
                    <a:pt x="2081" y="2213"/>
                  </a:lnTo>
                  <a:lnTo>
                    <a:pt x="2087" y="2204"/>
                  </a:lnTo>
                  <a:lnTo>
                    <a:pt x="2091" y="2194"/>
                  </a:lnTo>
                  <a:lnTo>
                    <a:pt x="2096" y="2185"/>
                  </a:lnTo>
                  <a:lnTo>
                    <a:pt x="2099" y="2174"/>
                  </a:lnTo>
                  <a:lnTo>
                    <a:pt x="2101" y="2163"/>
                  </a:lnTo>
                  <a:lnTo>
                    <a:pt x="2104" y="2150"/>
                  </a:lnTo>
                  <a:lnTo>
                    <a:pt x="2104" y="2138"/>
                  </a:lnTo>
                  <a:lnTo>
                    <a:pt x="2104" y="2138"/>
                  </a:lnTo>
                  <a:lnTo>
                    <a:pt x="2104" y="2125"/>
                  </a:lnTo>
                  <a:lnTo>
                    <a:pt x="2101" y="2114"/>
                  </a:lnTo>
                  <a:lnTo>
                    <a:pt x="2099" y="2102"/>
                  </a:lnTo>
                  <a:lnTo>
                    <a:pt x="2096" y="2091"/>
                  </a:lnTo>
                  <a:lnTo>
                    <a:pt x="2091" y="2081"/>
                  </a:lnTo>
                  <a:lnTo>
                    <a:pt x="2087" y="2071"/>
                  </a:lnTo>
                  <a:lnTo>
                    <a:pt x="2081" y="2062"/>
                  </a:lnTo>
                  <a:lnTo>
                    <a:pt x="2075" y="2054"/>
                  </a:lnTo>
                  <a:lnTo>
                    <a:pt x="2068" y="2047"/>
                  </a:lnTo>
                  <a:lnTo>
                    <a:pt x="2061" y="2041"/>
                  </a:lnTo>
                  <a:lnTo>
                    <a:pt x="2052" y="2035"/>
                  </a:lnTo>
                  <a:lnTo>
                    <a:pt x="2043" y="2030"/>
                  </a:lnTo>
                  <a:lnTo>
                    <a:pt x="2034" y="2027"/>
                  </a:lnTo>
                  <a:lnTo>
                    <a:pt x="2024" y="2024"/>
                  </a:lnTo>
                  <a:lnTo>
                    <a:pt x="2013" y="2022"/>
                  </a:lnTo>
                  <a:lnTo>
                    <a:pt x="2002" y="2021"/>
                  </a:lnTo>
                  <a:lnTo>
                    <a:pt x="2002" y="2021"/>
                  </a:lnTo>
                  <a:close/>
                  <a:moveTo>
                    <a:pt x="2002" y="2202"/>
                  </a:moveTo>
                  <a:lnTo>
                    <a:pt x="2002" y="2202"/>
                  </a:lnTo>
                  <a:lnTo>
                    <a:pt x="1992" y="2201"/>
                  </a:lnTo>
                  <a:lnTo>
                    <a:pt x="1984" y="2198"/>
                  </a:lnTo>
                  <a:lnTo>
                    <a:pt x="1977" y="2192"/>
                  </a:lnTo>
                  <a:lnTo>
                    <a:pt x="1970" y="2185"/>
                  </a:lnTo>
                  <a:lnTo>
                    <a:pt x="1964" y="2176"/>
                  </a:lnTo>
                  <a:lnTo>
                    <a:pt x="1960" y="2165"/>
                  </a:lnTo>
                  <a:lnTo>
                    <a:pt x="1958" y="2151"/>
                  </a:lnTo>
                  <a:lnTo>
                    <a:pt x="1958" y="2138"/>
                  </a:lnTo>
                  <a:lnTo>
                    <a:pt x="1958" y="2138"/>
                  </a:lnTo>
                  <a:lnTo>
                    <a:pt x="1958" y="2124"/>
                  </a:lnTo>
                  <a:lnTo>
                    <a:pt x="1960" y="2112"/>
                  </a:lnTo>
                  <a:lnTo>
                    <a:pt x="1964" y="2101"/>
                  </a:lnTo>
                  <a:lnTo>
                    <a:pt x="1970" y="2091"/>
                  </a:lnTo>
                  <a:lnTo>
                    <a:pt x="1977" y="2083"/>
                  </a:lnTo>
                  <a:lnTo>
                    <a:pt x="1984" y="2078"/>
                  </a:lnTo>
                  <a:lnTo>
                    <a:pt x="1992" y="2074"/>
                  </a:lnTo>
                  <a:lnTo>
                    <a:pt x="2002" y="2073"/>
                  </a:lnTo>
                  <a:lnTo>
                    <a:pt x="2002" y="2073"/>
                  </a:lnTo>
                  <a:lnTo>
                    <a:pt x="2012" y="2074"/>
                  </a:lnTo>
                  <a:lnTo>
                    <a:pt x="2021" y="2078"/>
                  </a:lnTo>
                  <a:lnTo>
                    <a:pt x="2029" y="2083"/>
                  </a:lnTo>
                  <a:lnTo>
                    <a:pt x="2035" y="2091"/>
                  </a:lnTo>
                  <a:lnTo>
                    <a:pt x="2041" y="2101"/>
                  </a:lnTo>
                  <a:lnTo>
                    <a:pt x="2044" y="2112"/>
                  </a:lnTo>
                  <a:lnTo>
                    <a:pt x="2046" y="2124"/>
                  </a:lnTo>
                  <a:lnTo>
                    <a:pt x="2047" y="2138"/>
                  </a:lnTo>
                  <a:lnTo>
                    <a:pt x="2047" y="2138"/>
                  </a:lnTo>
                  <a:lnTo>
                    <a:pt x="2046" y="2151"/>
                  </a:lnTo>
                  <a:lnTo>
                    <a:pt x="2044" y="2165"/>
                  </a:lnTo>
                  <a:lnTo>
                    <a:pt x="2041" y="2176"/>
                  </a:lnTo>
                  <a:lnTo>
                    <a:pt x="2035" y="2185"/>
                  </a:lnTo>
                  <a:lnTo>
                    <a:pt x="2029" y="2192"/>
                  </a:lnTo>
                  <a:lnTo>
                    <a:pt x="2021" y="2198"/>
                  </a:lnTo>
                  <a:lnTo>
                    <a:pt x="2012" y="2201"/>
                  </a:lnTo>
                  <a:lnTo>
                    <a:pt x="2002" y="2202"/>
                  </a:lnTo>
                  <a:lnTo>
                    <a:pt x="2002" y="2202"/>
                  </a:lnTo>
                  <a:close/>
                  <a:moveTo>
                    <a:pt x="837" y="2100"/>
                  </a:moveTo>
                  <a:lnTo>
                    <a:pt x="904" y="2249"/>
                  </a:lnTo>
                  <a:lnTo>
                    <a:pt x="843" y="2249"/>
                  </a:lnTo>
                  <a:lnTo>
                    <a:pt x="797" y="2146"/>
                  </a:lnTo>
                  <a:lnTo>
                    <a:pt x="767" y="2182"/>
                  </a:lnTo>
                  <a:lnTo>
                    <a:pt x="767" y="2249"/>
                  </a:lnTo>
                  <a:lnTo>
                    <a:pt x="713" y="2249"/>
                  </a:lnTo>
                  <a:lnTo>
                    <a:pt x="713" y="1962"/>
                  </a:lnTo>
                  <a:lnTo>
                    <a:pt x="767" y="1934"/>
                  </a:lnTo>
                  <a:lnTo>
                    <a:pt x="767" y="2112"/>
                  </a:lnTo>
                  <a:lnTo>
                    <a:pt x="767" y="2112"/>
                  </a:lnTo>
                  <a:lnTo>
                    <a:pt x="788" y="2083"/>
                  </a:lnTo>
                  <a:lnTo>
                    <a:pt x="832" y="2027"/>
                  </a:lnTo>
                  <a:lnTo>
                    <a:pt x="896" y="2027"/>
                  </a:lnTo>
                  <a:lnTo>
                    <a:pt x="837" y="2100"/>
                  </a:lnTo>
                  <a:close/>
                  <a:moveTo>
                    <a:pt x="1097" y="2249"/>
                  </a:moveTo>
                  <a:lnTo>
                    <a:pt x="1042" y="2249"/>
                  </a:lnTo>
                  <a:lnTo>
                    <a:pt x="1042" y="2027"/>
                  </a:lnTo>
                  <a:lnTo>
                    <a:pt x="1097" y="2027"/>
                  </a:lnTo>
                  <a:lnTo>
                    <a:pt x="1097" y="2046"/>
                  </a:lnTo>
                  <a:lnTo>
                    <a:pt x="1097" y="2046"/>
                  </a:lnTo>
                  <a:lnTo>
                    <a:pt x="1103" y="2040"/>
                  </a:lnTo>
                  <a:lnTo>
                    <a:pt x="1108" y="2036"/>
                  </a:lnTo>
                  <a:lnTo>
                    <a:pt x="1115" y="2031"/>
                  </a:lnTo>
                  <a:lnTo>
                    <a:pt x="1121" y="2028"/>
                  </a:lnTo>
                  <a:lnTo>
                    <a:pt x="1129" y="2026"/>
                  </a:lnTo>
                  <a:lnTo>
                    <a:pt x="1137" y="2024"/>
                  </a:lnTo>
                  <a:lnTo>
                    <a:pt x="1144" y="2022"/>
                  </a:lnTo>
                  <a:lnTo>
                    <a:pt x="1153" y="2021"/>
                  </a:lnTo>
                  <a:lnTo>
                    <a:pt x="1153" y="2021"/>
                  </a:lnTo>
                  <a:lnTo>
                    <a:pt x="1163" y="2022"/>
                  </a:lnTo>
                  <a:lnTo>
                    <a:pt x="1172" y="2024"/>
                  </a:lnTo>
                  <a:lnTo>
                    <a:pt x="1180" y="2026"/>
                  </a:lnTo>
                  <a:lnTo>
                    <a:pt x="1189" y="2028"/>
                  </a:lnTo>
                  <a:lnTo>
                    <a:pt x="1195" y="2032"/>
                  </a:lnTo>
                  <a:lnTo>
                    <a:pt x="1202" y="2037"/>
                  </a:lnTo>
                  <a:lnTo>
                    <a:pt x="1208" y="2041"/>
                  </a:lnTo>
                  <a:lnTo>
                    <a:pt x="1214" y="2048"/>
                  </a:lnTo>
                  <a:lnTo>
                    <a:pt x="1218" y="2054"/>
                  </a:lnTo>
                  <a:lnTo>
                    <a:pt x="1223" y="2062"/>
                  </a:lnTo>
                  <a:lnTo>
                    <a:pt x="1226" y="2070"/>
                  </a:lnTo>
                  <a:lnTo>
                    <a:pt x="1229" y="2080"/>
                  </a:lnTo>
                  <a:lnTo>
                    <a:pt x="1232" y="2090"/>
                  </a:lnTo>
                  <a:lnTo>
                    <a:pt x="1233" y="2100"/>
                  </a:lnTo>
                  <a:lnTo>
                    <a:pt x="1234" y="2111"/>
                  </a:lnTo>
                  <a:lnTo>
                    <a:pt x="1235" y="2123"/>
                  </a:lnTo>
                  <a:lnTo>
                    <a:pt x="1235" y="2249"/>
                  </a:lnTo>
                  <a:lnTo>
                    <a:pt x="1180" y="2249"/>
                  </a:lnTo>
                  <a:lnTo>
                    <a:pt x="1180" y="2126"/>
                  </a:lnTo>
                  <a:lnTo>
                    <a:pt x="1180" y="2126"/>
                  </a:lnTo>
                  <a:lnTo>
                    <a:pt x="1179" y="2114"/>
                  </a:lnTo>
                  <a:lnTo>
                    <a:pt x="1178" y="2102"/>
                  </a:lnTo>
                  <a:lnTo>
                    <a:pt x="1174" y="2093"/>
                  </a:lnTo>
                  <a:lnTo>
                    <a:pt x="1170" y="2085"/>
                  </a:lnTo>
                  <a:lnTo>
                    <a:pt x="1164" y="2080"/>
                  </a:lnTo>
                  <a:lnTo>
                    <a:pt x="1158" y="2075"/>
                  </a:lnTo>
                  <a:lnTo>
                    <a:pt x="1149" y="2073"/>
                  </a:lnTo>
                  <a:lnTo>
                    <a:pt x="1139" y="2072"/>
                  </a:lnTo>
                  <a:lnTo>
                    <a:pt x="1139" y="2072"/>
                  </a:lnTo>
                  <a:lnTo>
                    <a:pt x="1130" y="2073"/>
                  </a:lnTo>
                  <a:lnTo>
                    <a:pt x="1121" y="2075"/>
                  </a:lnTo>
                  <a:lnTo>
                    <a:pt x="1114" y="2080"/>
                  </a:lnTo>
                  <a:lnTo>
                    <a:pt x="1108" y="2086"/>
                  </a:lnTo>
                  <a:lnTo>
                    <a:pt x="1104" y="2093"/>
                  </a:lnTo>
                  <a:lnTo>
                    <a:pt x="1100" y="2103"/>
                  </a:lnTo>
                  <a:lnTo>
                    <a:pt x="1098" y="2114"/>
                  </a:lnTo>
                  <a:lnTo>
                    <a:pt x="1097" y="2126"/>
                  </a:lnTo>
                  <a:lnTo>
                    <a:pt x="1097" y="2249"/>
                  </a:lnTo>
                  <a:close/>
                  <a:moveTo>
                    <a:pt x="1408" y="2042"/>
                  </a:moveTo>
                  <a:lnTo>
                    <a:pt x="1408" y="2042"/>
                  </a:lnTo>
                  <a:lnTo>
                    <a:pt x="1403" y="2038"/>
                  </a:lnTo>
                  <a:lnTo>
                    <a:pt x="1397" y="2033"/>
                  </a:lnTo>
                  <a:lnTo>
                    <a:pt x="1392" y="2030"/>
                  </a:lnTo>
                  <a:lnTo>
                    <a:pt x="1385" y="2027"/>
                  </a:lnTo>
                  <a:lnTo>
                    <a:pt x="1378" y="2025"/>
                  </a:lnTo>
                  <a:lnTo>
                    <a:pt x="1372" y="2024"/>
                  </a:lnTo>
                  <a:lnTo>
                    <a:pt x="1365" y="2022"/>
                  </a:lnTo>
                  <a:lnTo>
                    <a:pt x="1359" y="2021"/>
                  </a:lnTo>
                  <a:lnTo>
                    <a:pt x="1359" y="2021"/>
                  </a:lnTo>
                  <a:lnTo>
                    <a:pt x="1349" y="2022"/>
                  </a:lnTo>
                  <a:lnTo>
                    <a:pt x="1340" y="2024"/>
                  </a:lnTo>
                  <a:lnTo>
                    <a:pt x="1331" y="2026"/>
                  </a:lnTo>
                  <a:lnTo>
                    <a:pt x="1322" y="2030"/>
                  </a:lnTo>
                  <a:lnTo>
                    <a:pt x="1314" y="2033"/>
                  </a:lnTo>
                  <a:lnTo>
                    <a:pt x="1308" y="2039"/>
                  </a:lnTo>
                  <a:lnTo>
                    <a:pt x="1301" y="2046"/>
                  </a:lnTo>
                  <a:lnTo>
                    <a:pt x="1295" y="2052"/>
                  </a:lnTo>
                  <a:lnTo>
                    <a:pt x="1289" y="2060"/>
                  </a:lnTo>
                  <a:lnTo>
                    <a:pt x="1285" y="2069"/>
                  </a:lnTo>
                  <a:lnTo>
                    <a:pt x="1280" y="2078"/>
                  </a:lnTo>
                  <a:lnTo>
                    <a:pt x="1277" y="2089"/>
                  </a:lnTo>
                  <a:lnTo>
                    <a:pt x="1275" y="2099"/>
                  </a:lnTo>
                  <a:lnTo>
                    <a:pt x="1273" y="2111"/>
                  </a:lnTo>
                  <a:lnTo>
                    <a:pt x="1271" y="2123"/>
                  </a:lnTo>
                  <a:lnTo>
                    <a:pt x="1271" y="2135"/>
                  </a:lnTo>
                  <a:lnTo>
                    <a:pt x="1271" y="2135"/>
                  </a:lnTo>
                  <a:lnTo>
                    <a:pt x="1271" y="2149"/>
                  </a:lnTo>
                  <a:lnTo>
                    <a:pt x="1273" y="2161"/>
                  </a:lnTo>
                  <a:lnTo>
                    <a:pt x="1275" y="2174"/>
                  </a:lnTo>
                  <a:lnTo>
                    <a:pt x="1277" y="2186"/>
                  </a:lnTo>
                  <a:lnTo>
                    <a:pt x="1280" y="2196"/>
                  </a:lnTo>
                  <a:lnTo>
                    <a:pt x="1285" y="2206"/>
                  </a:lnTo>
                  <a:lnTo>
                    <a:pt x="1289" y="2214"/>
                  </a:lnTo>
                  <a:lnTo>
                    <a:pt x="1295" y="2222"/>
                  </a:lnTo>
                  <a:lnTo>
                    <a:pt x="1300" y="2230"/>
                  </a:lnTo>
                  <a:lnTo>
                    <a:pt x="1307" y="2235"/>
                  </a:lnTo>
                  <a:lnTo>
                    <a:pt x="1313" y="2241"/>
                  </a:lnTo>
                  <a:lnTo>
                    <a:pt x="1321" y="2245"/>
                  </a:lnTo>
                  <a:lnTo>
                    <a:pt x="1330" y="2249"/>
                  </a:lnTo>
                  <a:lnTo>
                    <a:pt x="1339" y="2252"/>
                  </a:lnTo>
                  <a:lnTo>
                    <a:pt x="1348" y="2253"/>
                  </a:lnTo>
                  <a:lnTo>
                    <a:pt x="1357" y="2254"/>
                  </a:lnTo>
                  <a:lnTo>
                    <a:pt x="1357" y="2254"/>
                  </a:lnTo>
                  <a:lnTo>
                    <a:pt x="1364" y="2253"/>
                  </a:lnTo>
                  <a:lnTo>
                    <a:pt x="1372" y="2252"/>
                  </a:lnTo>
                  <a:lnTo>
                    <a:pt x="1378" y="2251"/>
                  </a:lnTo>
                  <a:lnTo>
                    <a:pt x="1385" y="2249"/>
                  </a:lnTo>
                  <a:lnTo>
                    <a:pt x="1391" y="2245"/>
                  </a:lnTo>
                  <a:lnTo>
                    <a:pt x="1397" y="2242"/>
                  </a:lnTo>
                  <a:lnTo>
                    <a:pt x="1403" y="2238"/>
                  </a:lnTo>
                  <a:lnTo>
                    <a:pt x="1408" y="2232"/>
                  </a:lnTo>
                  <a:lnTo>
                    <a:pt x="1408" y="2238"/>
                  </a:lnTo>
                  <a:lnTo>
                    <a:pt x="1408" y="2238"/>
                  </a:lnTo>
                  <a:lnTo>
                    <a:pt x="1408" y="2246"/>
                  </a:lnTo>
                  <a:lnTo>
                    <a:pt x="1407" y="2256"/>
                  </a:lnTo>
                  <a:lnTo>
                    <a:pt x="1404" y="2266"/>
                  </a:lnTo>
                  <a:lnTo>
                    <a:pt x="1402" y="2271"/>
                  </a:lnTo>
                  <a:lnTo>
                    <a:pt x="1399" y="2275"/>
                  </a:lnTo>
                  <a:lnTo>
                    <a:pt x="1395" y="2279"/>
                  </a:lnTo>
                  <a:lnTo>
                    <a:pt x="1391" y="2284"/>
                  </a:lnTo>
                  <a:lnTo>
                    <a:pt x="1385" y="2287"/>
                  </a:lnTo>
                  <a:lnTo>
                    <a:pt x="1378" y="2290"/>
                  </a:lnTo>
                  <a:lnTo>
                    <a:pt x="1370" y="2293"/>
                  </a:lnTo>
                  <a:lnTo>
                    <a:pt x="1361" y="2295"/>
                  </a:lnTo>
                  <a:lnTo>
                    <a:pt x="1350" y="2296"/>
                  </a:lnTo>
                  <a:lnTo>
                    <a:pt x="1337" y="2296"/>
                  </a:lnTo>
                  <a:lnTo>
                    <a:pt x="1334" y="2296"/>
                  </a:lnTo>
                  <a:lnTo>
                    <a:pt x="1354" y="2339"/>
                  </a:lnTo>
                  <a:lnTo>
                    <a:pt x="1355" y="2339"/>
                  </a:lnTo>
                  <a:lnTo>
                    <a:pt x="1355" y="2339"/>
                  </a:lnTo>
                  <a:lnTo>
                    <a:pt x="1369" y="2339"/>
                  </a:lnTo>
                  <a:lnTo>
                    <a:pt x="1381" y="2338"/>
                  </a:lnTo>
                  <a:lnTo>
                    <a:pt x="1392" y="2335"/>
                  </a:lnTo>
                  <a:lnTo>
                    <a:pt x="1403" y="2332"/>
                  </a:lnTo>
                  <a:lnTo>
                    <a:pt x="1413" y="2328"/>
                  </a:lnTo>
                  <a:lnTo>
                    <a:pt x="1421" y="2324"/>
                  </a:lnTo>
                  <a:lnTo>
                    <a:pt x="1429" y="2318"/>
                  </a:lnTo>
                  <a:lnTo>
                    <a:pt x="1436" y="2311"/>
                  </a:lnTo>
                  <a:lnTo>
                    <a:pt x="1442" y="2304"/>
                  </a:lnTo>
                  <a:lnTo>
                    <a:pt x="1448" y="2296"/>
                  </a:lnTo>
                  <a:lnTo>
                    <a:pt x="1452" y="2286"/>
                  </a:lnTo>
                  <a:lnTo>
                    <a:pt x="1456" y="2276"/>
                  </a:lnTo>
                  <a:lnTo>
                    <a:pt x="1459" y="2266"/>
                  </a:lnTo>
                  <a:lnTo>
                    <a:pt x="1461" y="2254"/>
                  </a:lnTo>
                  <a:lnTo>
                    <a:pt x="1462" y="2242"/>
                  </a:lnTo>
                  <a:lnTo>
                    <a:pt x="1462" y="2229"/>
                  </a:lnTo>
                  <a:lnTo>
                    <a:pt x="1462" y="2027"/>
                  </a:lnTo>
                  <a:lnTo>
                    <a:pt x="1408" y="2027"/>
                  </a:lnTo>
                  <a:lnTo>
                    <a:pt x="1408" y="2042"/>
                  </a:lnTo>
                  <a:close/>
                  <a:moveTo>
                    <a:pt x="1408" y="2094"/>
                  </a:moveTo>
                  <a:lnTo>
                    <a:pt x="1408" y="2181"/>
                  </a:lnTo>
                  <a:lnTo>
                    <a:pt x="1408" y="2181"/>
                  </a:lnTo>
                  <a:lnTo>
                    <a:pt x="1401" y="2189"/>
                  </a:lnTo>
                  <a:lnTo>
                    <a:pt x="1393" y="2197"/>
                  </a:lnTo>
                  <a:lnTo>
                    <a:pt x="1387" y="2199"/>
                  </a:lnTo>
                  <a:lnTo>
                    <a:pt x="1382" y="2201"/>
                  </a:lnTo>
                  <a:lnTo>
                    <a:pt x="1376" y="2202"/>
                  </a:lnTo>
                  <a:lnTo>
                    <a:pt x="1369" y="2203"/>
                  </a:lnTo>
                  <a:lnTo>
                    <a:pt x="1369" y="2203"/>
                  </a:lnTo>
                  <a:lnTo>
                    <a:pt x="1362" y="2202"/>
                  </a:lnTo>
                  <a:lnTo>
                    <a:pt x="1354" y="2200"/>
                  </a:lnTo>
                  <a:lnTo>
                    <a:pt x="1348" y="2197"/>
                  </a:lnTo>
                  <a:lnTo>
                    <a:pt x="1341" y="2190"/>
                  </a:lnTo>
                  <a:lnTo>
                    <a:pt x="1335" y="2181"/>
                  </a:lnTo>
                  <a:lnTo>
                    <a:pt x="1331" y="2169"/>
                  </a:lnTo>
                  <a:lnTo>
                    <a:pt x="1329" y="2154"/>
                  </a:lnTo>
                  <a:lnTo>
                    <a:pt x="1328" y="2134"/>
                  </a:lnTo>
                  <a:lnTo>
                    <a:pt x="1328" y="2134"/>
                  </a:lnTo>
                  <a:lnTo>
                    <a:pt x="1329" y="2117"/>
                  </a:lnTo>
                  <a:lnTo>
                    <a:pt x="1331" y="2103"/>
                  </a:lnTo>
                  <a:lnTo>
                    <a:pt x="1335" y="2092"/>
                  </a:lnTo>
                  <a:lnTo>
                    <a:pt x="1341" y="2084"/>
                  </a:lnTo>
                  <a:lnTo>
                    <a:pt x="1348" y="2079"/>
                  </a:lnTo>
                  <a:lnTo>
                    <a:pt x="1354" y="2074"/>
                  </a:lnTo>
                  <a:lnTo>
                    <a:pt x="1362" y="2073"/>
                  </a:lnTo>
                  <a:lnTo>
                    <a:pt x="1369" y="2072"/>
                  </a:lnTo>
                  <a:lnTo>
                    <a:pt x="1369" y="2072"/>
                  </a:lnTo>
                  <a:lnTo>
                    <a:pt x="1376" y="2073"/>
                  </a:lnTo>
                  <a:lnTo>
                    <a:pt x="1383" y="2074"/>
                  </a:lnTo>
                  <a:lnTo>
                    <a:pt x="1388" y="2076"/>
                  </a:lnTo>
                  <a:lnTo>
                    <a:pt x="1394" y="2080"/>
                  </a:lnTo>
                  <a:lnTo>
                    <a:pt x="1398" y="2083"/>
                  </a:lnTo>
                  <a:lnTo>
                    <a:pt x="1402" y="2086"/>
                  </a:lnTo>
                  <a:lnTo>
                    <a:pt x="1408" y="2094"/>
                  </a:lnTo>
                  <a:lnTo>
                    <a:pt x="1408" y="2094"/>
                  </a:lnTo>
                  <a:close/>
                  <a:moveTo>
                    <a:pt x="938" y="2027"/>
                  </a:moveTo>
                  <a:lnTo>
                    <a:pt x="993" y="2027"/>
                  </a:lnTo>
                  <a:lnTo>
                    <a:pt x="993" y="2123"/>
                  </a:lnTo>
                  <a:lnTo>
                    <a:pt x="993" y="2249"/>
                  </a:lnTo>
                  <a:lnTo>
                    <a:pt x="938" y="2249"/>
                  </a:lnTo>
                  <a:lnTo>
                    <a:pt x="938" y="2027"/>
                  </a:lnTo>
                  <a:close/>
                  <a:moveTo>
                    <a:pt x="993" y="1967"/>
                  </a:moveTo>
                  <a:lnTo>
                    <a:pt x="993" y="1995"/>
                  </a:lnTo>
                  <a:lnTo>
                    <a:pt x="938" y="1995"/>
                  </a:lnTo>
                  <a:lnTo>
                    <a:pt x="938" y="1940"/>
                  </a:lnTo>
                  <a:lnTo>
                    <a:pt x="993" y="1940"/>
                  </a:lnTo>
                  <a:lnTo>
                    <a:pt x="993" y="1967"/>
                  </a:lnTo>
                  <a:close/>
                  <a:moveTo>
                    <a:pt x="2309" y="1962"/>
                  </a:moveTo>
                  <a:lnTo>
                    <a:pt x="2364" y="1934"/>
                  </a:lnTo>
                  <a:lnTo>
                    <a:pt x="2364" y="2127"/>
                  </a:lnTo>
                  <a:lnTo>
                    <a:pt x="2364" y="2249"/>
                  </a:lnTo>
                  <a:lnTo>
                    <a:pt x="2309" y="2249"/>
                  </a:lnTo>
                  <a:lnTo>
                    <a:pt x="2309" y="1962"/>
                  </a:lnTo>
                  <a:close/>
                  <a:moveTo>
                    <a:pt x="397" y="757"/>
                  </a:moveTo>
                  <a:lnTo>
                    <a:pt x="850" y="757"/>
                  </a:lnTo>
                  <a:lnTo>
                    <a:pt x="850" y="495"/>
                  </a:lnTo>
                  <a:lnTo>
                    <a:pt x="397" y="495"/>
                  </a:lnTo>
                  <a:lnTo>
                    <a:pt x="397" y="288"/>
                  </a:lnTo>
                  <a:lnTo>
                    <a:pt x="898" y="288"/>
                  </a:lnTo>
                  <a:lnTo>
                    <a:pt x="732" y="0"/>
                  </a:lnTo>
                  <a:lnTo>
                    <a:pt x="22" y="0"/>
                  </a:lnTo>
                  <a:lnTo>
                    <a:pt x="22" y="1251"/>
                  </a:lnTo>
                  <a:lnTo>
                    <a:pt x="1023" y="1251"/>
                  </a:lnTo>
                  <a:lnTo>
                    <a:pt x="1023" y="963"/>
                  </a:lnTo>
                  <a:lnTo>
                    <a:pt x="397" y="963"/>
                  </a:lnTo>
                  <a:lnTo>
                    <a:pt x="397" y="757"/>
                  </a:lnTo>
                  <a:close/>
                  <a:moveTo>
                    <a:pt x="1690" y="0"/>
                  </a:moveTo>
                  <a:lnTo>
                    <a:pt x="1477" y="409"/>
                  </a:lnTo>
                  <a:lnTo>
                    <a:pt x="1265" y="0"/>
                  </a:lnTo>
                  <a:lnTo>
                    <a:pt x="850" y="0"/>
                  </a:lnTo>
                  <a:lnTo>
                    <a:pt x="1287" y="757"/>
                  </a:lnTo>
                  <a:lnTo>
                    <a:pt x="1287" y="1251"/>
                  </a:lnTo>
                  <a:lnTo>
                    <a:pt x="1661" y="1251"/>
                  </a:lnTo>
                  <a:lnTo>
                    <a:pt x="1661" y="757"/>
                  </a:lnTo>
                  <a:lnTo>
                    <a:pt x="2099" y="0"/>
                  </a:lnTo>
                  <a:lnTo>
                    <a:pt x="1690" y="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913943"/>
              <a:endParaRPr lang="en-IN" sz="1799">
                <a:solidFill>
                  <a:srgbClr val="FFFFFF"/>
                </a:solidFill>
                <a:latin typeface="EYInterstate Light"/>
              </a:endParaRPr>
            </a:p>
          </p:txBody>
        </p:sp>
      </p:grpSp>
      <p:sp>
        <p:nvSpPr>
          <p:cNvPr id="8" name="Freeform: Shape 7">
            <a:extLst>
              <a:ext uri="{FF2B5EF4-FFF2-40B4-BE49-F238E27FC236}">
                <a16:creationId xmlns:a16="http://schemas.microsoft.com/office/drawing/2014/main" id="{FDF00A9F-AD0C-4F4D-BB8D-899B8174EA5F}"/>
              </a:ext>
            </a:extLst>
          </p:cNvPr>
          <p:cNvSpPr/>
          <p:nvPr userDrawn="1"/>
        </p:nvSpPr>
        <p:spPr>
          <a:xfrm>
            <a:off x="660626" y="1070197"/>
            <a:ext cx="4484029" cy="2995846"/>
          </a:xfrm>
          <a:custGeom>
            <a:avLst/>
            <a:gdLst>
              <a:gd name="connsiteX0" fmla="*/ 5233982 w 5257800"/>
              <a:gd name="connsiteY0" fmla="*/ 0 h 2997406"/>
              <a:gd name="connsiteX1" fmla="*/ 5257800 w 5257800"/>
              <a:gd name="connsiteY1" fmla="*/ 0 h 2997406"/>
              <a:gd name="connsiteX2" fmla="*/ 5257800 w 5257800"/>
              <a:gd name="connsiteY2" fmla="*/ 2997406 h 2997406"/>
              <a:gd name="connsiteX3" fmla="*/ 0 w 5257800"/>
              <a:gd name="connsiteY3" fmla="*/ 2997406 h 2997406"/>
              <a:gd name="connsiteX4" fmla="*/ 0 w 5257800"/>
              <a:gd name="connsiteY4" fmla="*/ 922892 h 2997406"/>
              <a:gd name="connsiteX5" fmla="*/ 5233982 w 5257800"/>
              <a:gd name="connsiteY5" fmla="*/ 0 h 29974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257800" h="2997406">
                <a:moveTo>
                  <a:pt x="5233982" y="0"/>
                </a:moveTo>
                <a:lnTo>
                  <a:pt x="5257800" y="0"/>
                </a:lnTo>
                <a:lnTo>
                  <a:pt x="5257800" y="2997406"/>
                </a:lnTo>
                <a:lnTo>
                  <a:pt x="0" y="2997406"/>
                </a:lnTo>
                <a:lnTo>
                  <a:pt x="0" y="922892"/>
                </a:lnTo>
                <a:lnTo>
                  <a:pt x="5233982" y="0"/>
                </a:lnTo>
                <a:close/>
              </a:path>
            </a:pathLst>
          </a:custGeom>
          <a:solidFill>
            <a:srgbClr val="FFE6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defTabSz="913943"/>
            <a:endParaRPr lang="en-IN" sz="1799">
              <a:solidFill>
                <a:srgbClr val="2E2E38"/>
              </a:solidFill>
              <a:latin typeface="EYInterstate Light"/>
            </a:endParaRP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9C20D254-E500-4449-AA7F-034BA5484F3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84650" y="2182821"/>
            <a:ext cx="4326679" cy="979702"/>
          </a:xfrm>
          <a:prstGeom prst="rect">
            <a:avLst/>
          </a:prstGeom>
        </p:spPr>
        <p:txBody>
          <a:bodyPr/>
          <a:lstStyle>
            <a:lvl1pPr>
              <a:defRPr sz="2999" b="0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075C6435-A666-465B-877D-F0C13CF760A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984650" y="3274759"/>
            <a:ext cx="4326679" cy="1046323"/>
          </a:xfrm>
          <a:prstGeom prst="rect">
            <a:avLst/>
          </a:prstGeom>
        </p:spPr>
        <p:txBody>
          <a:bodyPr/>
          <a:lstStyle>
            <a:lvl1pPr marL="0" indent="0" algn="l">
              <a:spcAft>
                <a:spcPts val="1199"/>
              </a:spcAft>
              <a:buNone/>
              <a:defRPr sz="1999">
                <a:solidFill>
                  <a:schemeClr val="bg1"/>
                </a:solidFill>
                <a:latin typeface="EYInterstate" panose="02000503020000020004" pitchFamily="2" charset="0"/>
                <a:cs typeface="Arial" pitchFamily="34" charset="0"/>
              </a:defRPr>
            </a:lvl1pPr>
            <a:lvl2pPr marL="0" indent="0" algn="l">
              <a:buNone/>
              <a:defRPr sz="1599" b="1">
                <a:solidFill>
                  <a:srgbClr val="404040"/>
                </a:solidFill>
              </a:defRPr>
            </a:lvl2pPr>
            <a:lvl3pPr marL="913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9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78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48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18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57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8390972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842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ilerpl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AC129049-E3D5-4C0A-BB1F-72BEDB1FB59E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" y="0"/>
            <a:ext cx="12188827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674640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ur Work Together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 descr="A group of people in a room&#10;&#10;Description automatically generated with medium confidence">
            <a:extLst>
              <a:ext uri="{FF2B5EF4-FFF2-40B4-BE49-F238E27FC236}">
                <a16:creationId xmlns:a16="http://schemas.microsoft.com/office/drawing/2014/main" id="{51FC1576-1D0A-4052-AE8F-26AAA8BD54A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-79853"/>
            <a:ext cx="12192000" cy="6858000"/>
          </a:xfrm>
          <a:prstGeom prst="rect">
            <a:avLst/>
          </a:prstGeom>
        </p:spPr>
      </p:pic>
      <p:sp>
        <p:nvSpPr>
          <p:cNvPr id="29" name="Rechteck 9">
            <a:extLst>
              <a:ext uri="{FF2B5EF4-FFF2-40B4-BE49-F238E27FC236}">
                <a16:creationId xmlns:a16="http://schemas.microsoft.com/office/drawing/2014/main" id="{AAA239CA-5C98-44DA-8050-C4391157F303}"/>
              </a:ext>
            </a:extLst>
          </p:cNvPr>
          <p:cNvSpPr>
            <a:spLocks/>
          </p:cNvSpPr>
          <p:nvPr userDrawn="1"/>
        </p:nvSpPr>
        <p:spPr bwMode="gray">
          <a:xfrm flipV="1">
            <a:off x="-2" y="-109782"/>
            <a:ext cx="12192000" cy="6887929"/>
          </a:xfrm>
          <a:prstGeom prst="rect">
            <a:avLst/>
          </a:prstGeom>
          <a:solidFill>
            <a:sysClr val="windowText" lastClr="000000">
              <a:alpha val="62000"/>
            </a:sysClr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61136" tIns="61136" rIns="61136" bIns="6113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943">
              <a:defRPr/>
            </a:pPr>
            <a:endParaRPr lang="en-US" sz="999" kern="0">
              <a:solidFill>
                <a:prstClr val="black"/>
              </a:solidFill>
              <a:latin typeface="EYInterstate Light" panose="02000506000000020004" pitchFamily="2" charset="0"/>
            </a:endParaRP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D11158CA-3D51-432D-BF8B-6EE874E13A5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0135" y="3448866"/>
            <a:ext cx="11277839" cy="590880"/>
          </a:xfrm>
          <a:prstGeom prst="rect">
            <a:avLst/>
          </a:prstGeom>
        </p:spPr>
        <p:txBody>
          <a:bodyPr/>
          <a:lstStyle>
            <a:lvl1pPr>
              <a:defRPr sz="6000" b="1">
                <a:solidFill>
                  <a:schemeClr val="tx2"/>
                </a:solidFill>
                <a:latin typeface="EYInterstate" panose="02000503020000020004" pitchFamily="2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7" name="Text Placeholder 13">
            <a:extLst>
              <a:ext uri="{FF2B5EF4-FFF2-40B4-BE49-F238E27FC236}">
                <a16:creationId xmlns:a16="http://schemas.microsoft.com/office/drawing/2014/main" id="{F20E1C88-BE0C-4DC8-8A6E-D0779C46A94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60374" y="4427538"/>
            <a:ext cx="9381457" cy="116681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4400">
                <a:solidFill>
                  <a:schemeClr val="tx1"/>
                </a:solidFill>
              </a:defRPr>
            </a:lvl1pPr>
            <a:lvl2pPr marL="356437" indent="0">
              <a:buNone/>
              <a:defRPr sz="4400">
                <a:solidFill>
                  <a:schemeClr val="tx1"/>
                </a:solidFill>
              </a:defRPr>
            </a:lvl2pPr>
            <a:lvl3pPr marL="712875" indent="0">
              <a:buNone/>
              <a:defRPr sz="4400">
                <a:solidFill>
                  <a:schemeClr val="tx1"/>
                </a:solidFill>
              </a:defRPr>
            </a:lvl3pPr>
            <a:lvl4pPr marL="1069313" indent="0">
              <a:buNone/>
              <a:defRPr sz="4400">
                <a:solidFill>
                  <a:schemeClr val="tx1"/>
                </a:solidFill>
              </a:defRPr>
            </a:lvl4pPr>
            <a:lvl5pPr marL="1425750" indent="0">
              <a:buNone/>
              <a:defRPr sz="4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</a:t>
            </a: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84F6490B-F99B-4CF7-A35C-E8E149A9A92E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460136" y="6295496"/>
            <a:ext cx="302897" cy="310988"/>
            <a:chOff x="7110" y="4004"/>
            <a:chExt cx="191" cy="196"/>
          </a:xfrm>
        </p:grpSpPr>
        <p:sp>
          <p:nvSpPr>
            <p:cNvPr id="20" name="Freeform 5">
              <a:extLst>
                <a:ext uri="{FF2B5EF4-FFF2-40B4-BE49-F238E27FC236}">
                  <a16:creationId xmlns:a16="http://schemas.microsoft.com/office/drawing/2014/main" id="{F967F7FB-7039-4D73-BE67-29520105397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rgbClr val="FFE6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913486"/>
              <a:endParaRPr lang="en-IN" sz="1798">
                <a:solidFill>
                  <a:schemeClr val="tx1"/>
                </a:solidFill>
                <a:latin typeface="EYInterstate Light"/>
              </a:endParaRPr>
            </a:p>
          </p:txBody>
        </p:sp>
        <p:sp>
          <p:nvSpPr>
            <p:cNvPr id="21" name="Freeform 6">
              <a:extLst>
                <a:ext uri="{FF2B5EF4-FFF2-40B4-BE49-F238E27FC236}">
                  <a16:creationId xmlns:a16="http://schemas.microsoft.com/office/drawing/2014/main" id="{1FF48ED4-FC3A-4BF8-814D-445C05C9884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913486"/>
              <a:endParaRPr lang="en-IN" sz="1798">
                <a:solidFill>
                  <a:schemeClr val="tx1"/>
                </a:solidFill>
                <a:latin typeface="EYInterstate Light"/>
              </a:endParaRPr>
            </a:p>
          </p:txBody>
        </p:sp>
        <p:sp>
          <p:nvSpPr>
            <p:cNvPr id="22" name="Freeform 7">
              <a:extLst>
                <a:ext uri="{FF2B5EF4-FFF2-40B4-BE49-F238E27FC236}">
                  <a16:creationId xmlns:a16="http://schemas.microsoft.com/office/drawing/2014/main" id="{EDE927A1-F394-4F53-B6BB-1E536C24F74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913486"/>
              <a:endParaRPr lang="en-IN" sz="1798">
                <a:solidFill>
                  <a:schemeClr val="tx1"/>
                </a:solidFill>
                <a:latin typeface="EYInterstate Light"/>
              </a:endParaRPr>
            </a:p>
          </p:txBody>
        </p:sp>
      </p:grpSp>
      <p:sp>
        <p:nvSpPr>
          <p:cNvPr id="26" name="Rectangle 25">
            <a:extLst>
              <a:ext uri="{FF2B5EF4-FFF2-40B4-BE49-F238E27FC236}">
                <a16:creationId xmlns:a16="http://schemas.microsoft.com/office/drawing/2014/main" id="{CD1D4333-905D-43C6-848E-C88745D0DCA8}"/>
              </a:ext>
            </a:extLst>
          </p:cNvPr>
          <p:cNvSpPr/>
          <p:nvPr userDrawn="1"/>
        </p:nvSpPr>
        <p:spPr>
          <a:xfrm>
            <a:off x="-1" y="6781189"/>
            <a:ext cx="4929029" cy="76811"/>
          </a:xfrm>
          <a:prstGeom prst="rect">
            <a:avLst/>
          </a:prstGeom>
          <a:solidFill>
            <a:srgbClr val="FFE6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IN" sz="1199">
              <a:solidFill>
                <a:schemeClr val="tx1"/>
              </a:solidFill>
            </a:endParaRPr>
          </a:p>
        </p:txBody>
      </p:sp>
      <p:sp>
        <p:nvSpPr>
          <p:cNvPr id="27" name="Freeform: Shape 26">
            <a:extLst>
              <a:ext uri="{FF2B5EF4-FFF2-40B4-BE49-F238E27FC236}">
                <a16:creationId xmlns:a16="http://schemas.microsoft.com/office/drawing/2014/main" id="{160C5EF4-2AF9-402B-8F3A-DB32B3CE1A79}"/>
              </a:ext>
            </a:extLst>
          </p:cNvPr>
          <p:cNvSpPr/>
          <p:nvPr userDrawn="1"/>
        </p:nvSpPr>
        <p:spPr>
          <a:xfrm>
            <a:off x="4498656" y="6698294"/>
            <a:ext cx="4141363" cy="159706"/>
          </a:xfrm>
          <a:custGeom>
            <a:avLst/>
            <a:gdLst>
              <a:gd name="connsiteX0" fmla="*/ 381462 w 4143520"/>
              <a:gd name="connsiteY0" fmla="*/ 0 h 159706"/>
              <a:gd name="connsiteX1" fmla="*/ 4126181 w 4143520"/>
              <a:gd name="connsiteY1" fmla="*/ 0 h 159706"/>
              <a:gd name="connsiteX2" fmla="*/ 4143520 w 4143520"/>
              <a:gd name="connsiteY2" fmla="*/ 159706 h 159706"/>
              <a:gd name="connsiteX3" fmla="*/ 0 w 4143520"/>
              <a:gd name="connsiteY3" fmla="*/ 159706 h 159706"/>
              <a:gd name="connsiteX4" fmla="*/ 381462 w 4143520"/>
              <a:gd name="connsiteY4" fmla="*/ 0 h 1597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143520" h="159706">
                <a:moveTo>
                  <a:pt x="381462" y="0"/>
                </a:moveTo>
                <a:lnTo>
                  <a:pt x="4126181" y="0"/>
                </a:lnTo>
                <a:lnTo>
                  <a:pt x="4143520" y="159706"/>
                </a:lnTo>
                <a:lnTo>
                  <a:pt x="0" y="159706"/>
                </a:lnTo>
                <a:lnTo>
                  <a:pt x="381462" y="0"/>
                </a:lnTo>
                <a:close/>
              </a:path>
            </a:pathLst>
          </a:custGeom>
          <a:solidFill>
            <a:srgbClr val="74748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algn="ctr"/>
            <a:endParaRPr lang="en-IN" sz="1199">
              <a:solidFill>
                <a:schemeClr val="tx1"/>
              </a:solidFill>
            </a:endParaRPr>
          </a:p>
        </p:txBody>
      </p:sp>
      <p:sp>
        <p:nvSpPr>
          <p:cNvPr id="28" name="Freeform: Shape 27">
            <a:extLst>
              <a:ext uri="{FF2B5EF4-FFF2-40B4-BE49-F238E27FC236}">
                <a16:creationId xmlns:a16="http://schemas.microsoft.com/office/drawing/2014/main" id="{15E9838E-4463-4130-B65C-18046F02CFC8}"/>
              </a:ext>
            </a:extLst>
          </p:cNvPr>
          <p:cNvSpPr/>
          <p:nvPr userDrawn="1"/>
        </p:nvSpPr>
        <p:spPr>
          <a:xfrm>
            <a:off x="7032919" y="6617110"/>
            <a:ext cx="5159081" cy="240890"/>
          </a:xfrm>
          <a:custGeom>
            <a:avLst/>
            <a:gdLst>
              <a:gd name="connsiteX0" fmla="*/ 516514 w 5155418"/>
              <a:gd name="connsiteY0" fmla="*/ 0 h 240890"/>
              <a:gd name="connsiteX1" fmla="*/ 5155418 w 5155418"/>
              <a:gd name="connsiteY1" fmla="*/ 0 h 240890"/>
              <a:gd name="connsiteX2" fmla="*/ 5155418 w 5155418"/>
              <a:gd name="connsiteY2" fmla="*/ 240890 h 240890"/>
              <a:gd name="connsiteX3" fmla="*/ 0 w 5155418"/>
              <a:gd name="connsiteY3" fmla="*/ 240890 h 240890"/>
              <a:gd name="connsiteX4" fmla="*/ 516514 w 5155418"/>
              <a:gd name="connsiteY4" fmla="*/ 0 h 2408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55418" h="240890">
                <a:moveTo>
                  <a:pt x="516514" y="0"/>
                </a:moveTo>
                <a:lnTo>
                  <a:pt x="5155418" y="0"/>
                </a:lnTo>
                <a:lnTo>
                  <a:pt x="5155418" y="240890"/>
                </a:lnTo>
                <a:lnTo>
                  <a:pt x="0" y="240890"/>
                </a:lnTo>
                <a:lnTo>
                  <a:pt x="516514" y="0"/>
                </a:lnTo>
                <a:close/>
              </a:path>
            </a:pathLst>
          </a:custGeom>
          <a:solidFill>
            <a:srgbClr val="2E2E38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algn="ctr"/>
            <a:endParaRPr lang="en-IN" sz="1199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1490158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pproach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" name="Picture 26">
            <a:extLst>
              <a:ext uri="{FF2B5EF4-FFF2-40B4-BE49-F238E27FC236}">
                <a16:creationId xmlns:a16="http://schemas.microsoft.com/office/drawing/2014/main" id="{0322E9F5-FE76-4D13-BFC0-CDE3B988962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771" y="128548"/>
            <a:ext cx="12192000" cy="6850141"/>
          </a:xfrm>
          <a:prstGeom prst="rect">
            <a:avLst/>
          </a:prstGeom>
        </p:spPr>
      </p:pic>
      <p:sp>
        <p:nvSpPr>
          <p:cNvPr id="28" name="Rechteck 9">
            <a:extLst>
              <a:ext uri="{FF2B5EF4-FFF2-40B4-BE49-F238E27FC236}">
                <a16:creationId xmlns:a16="http://schemas.microsoft.com/office/drawing/2014/main" id="{AA720E43-5B40-41DC-B1D5-60D7D81B432B}"/>
              </a:ext>
            </a:extLst>
          </p:cNvPr>
          <p:cNvSpPr>
            <a:spLocks/>
          </p:cNvSpPr>
          <p:nvPr userDrawn="1"/>
        </p:nvSpPr>
        <p:spPr bwMode="gray">
          <a:xfrm flipV="1">
            <a:off x="9771" y="19866"/>
            <a:ext cx="12182229" cy="6858000"/>
          </a:xfrm>
          <a:prstGeom prst="rect">
            <a:avLst/>
          </a:prstGeom>
          <a:solidFill>
            <a:sysClr val="windowText" lastClr="000000">
              <a:alpha val="62000"/>
            </a:sysClr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61136" tIns="61136" rIns="61136" bIns="6113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943">
              <a:defRPr/>
            </a:pPr>
            <a:endParaRPr lang="en-US" sz="999" kern="0">
              <a:solidFill>
                <a:prstClr val="black"/>
              </a:solidFill>
              <a:latin typeface="EYInterstate Light" panose="02000506000000020004" pitchFamily="2" charset="0"/>
            </a:endParaRPr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627B05BB-87B8-4B32-BFFA-8279D320EE9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0135" y="3448866"/>
            <a:ext cx="11277839" cy="590880"/>
          </a:xfrm>
          <a:prstGeom prst="rect">
            <a:avLst/>
          </a:prstGeom>
        </p:spPr>
        <p:txBody>
          <a:bodyPr/>
          <a:lstStyle>
            <a:lvl1pPr>
              <a:defRPr sz="6000" b="1">
                <a:solidFill>
                  <a:schemeClr val="tx2"/>
                </a:solidFill>
                <a:latin typeface="EYInterstate" panose="02000503020000020004" pitchFamily="2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6" name="Text Placeholder 13">
            <a:extLst>
              <a:ext uri="{FF2B5EF4-FFF2-40B4-BE49-F238E27FC236}">
                <a16:creationId xmlns:a16="http://schemas.microsoft.com/office/drawing/2014/main" id="{14275424-02CF-4EEC-8545-86D25E8A712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60374" y="4427538"/>
            <a:ext cx="9381457" cy="116681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4400">
                <a:solidFill>
                  <a:schemeClr val="tx1"/>
                </a:solidFill>
              </a:defRPr>
            </a:lvl1pPr>
            <a:lvl2pPr marL="356437" indent="0">
              <a:buNone/>
              <a:defRPr sz="4400">
                <a:solidFill>
                  <a:schemeClr val="tx1"/>
                </a:solidFill>
              </a:defRPr>
            </a:lvl2pPr>
            <a:lvl3pPr marL="712875" indent="0">
              <a:buNone/>
              <a:defRPr sz="4400">
                <a:solidFill>
                  <a:schemeClr val="tx1"/>
                </a:solidFill>
              </a:defRPr>
            </a:lvl3pPr>
            <a:lvl4pPr marL="1069313" indent="0">
              <a:buNone/>
              <a:defRPr sz="4400">
                <a:solidFill>
                  <a:schemeClr val="tx1"/>
                </a:solidFill>
              </a:defRPr>
            </a:lvl4pPr>
            <a:lvl5pPr marL="1425750" indent="0">
              <a:buNone/>
              <a:defRPr sz="4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</a:t>
            </a:r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D5A5ECA0-AF82-4916-81E8-C319F528BF86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460136" y="6295496"/>
            <a:ext cx="302897" cy="310988"/>
            <a:chOff x="7110" y="4004"/>
            <a:chExt cx="191" cy="196"/>
          </a:xfrm>
        </p:grpSpPr>
        <p:sp>
          <p:nvSpPr>
            <p:cNvPr id="19" name="Freeform 5">
              <a:extLst>
                <a:ext uri="{FF2B5EF4-FFF2-40B4-BE49-F238E27FC236}">
                  <a16:creationId xmlns:a16="http://schemas.microsoft.com/office/drawing/2014/main" id="{711C680E-CB85-49F4-8885-79FA5CE0258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rgbClr val="FFE6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913486"/>
              <a:endParaRPr lang="en-IN" sz="1798">
                <a:solidFill>
                  <a:schemeClr val="tx1"/>
                </a:solidFill>
                <a:latin typeface="EYInterstate Light"/>
              </a:endParaRPr>
            </a:p>
          </p:txBody>
        </p:sp>
        <p:sp>
          <p:nvSpPr>
            <p:cNvPr id="20" name="Freeform 6">
              <a:extLst>
                <a:ext uri="{FF2B5EF4-FFF2-40B4-BE49-F238E27FC236}">
                  <a16:creationId xmlns:a16="http://schemas.microsoft.com/office/drawing/2014/main" id="{50C015A4-DC50-41EC-A86B-15125C1F24A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913486"/>
              <a:endParaRPr lang="en-IN" sz="1798">
                <a:solidFill>
                  <a:schemeClr val="tx1"/>
                </a:solidFill>
                <a:latin typeface="EYInterstate Light"/>
              </a:endParaRPr>
            </a:p>
          </p:txBody>
        </p:sp>
        <p:sp>
          <p:nvSpPr>
            <p:cNvPr id="29" name="Freeform 7">
              <a:extLst>
                <a:ext uri="{FF2B5EF4-FFF2-40B4-BE49-F238E27FC236}">
                  <a16:creationId xmlns:a16="http://schemas.microsoft.com/office/drawing/2014/main" id="{357EA05F-7D14-4F5F-B422-4672B57C9A9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913486"/>
              <a:endParaRPr lang="en-IN" sz="1798">
                <a:solidFill>
                  <a:schemeClr val="tx1"/>
                </a:solidFill>
                <a:latin typeface="EYInterstate Light"/>
              </a:endParaRPr>
            </a:p>
          </p:txBody>
        </p:sp>
      </p:grpSp>
      <p:sp>
        <p:nvSpPr>
          <p:cNvPr id="33" name="Rectangle 32">
            <a:extLst>
              <a:ext uri="{FF2B5EF4-FFF2-40B4-BE49-F238E27FC236}">
                <a16:creationId xmlns:a16="http://schemas.microsoft.com/office/drawing/2014/main" id="{5EB3607B-468C-4658-B2C2-A2EC0B001E58}"/>
              </a:ext>
            </a:extLst>
          </p:cNvPr>
          <p:cNvSpPr/>
          <p:nvPr userDrawn="1"/>
        </p:nvSpPr>
        <p:spPr>
          <a:xfrm>
            <a:off x="-1" y="6781189"/>
            <a:ext cx="4929029" cy="76811"/>
          </a:xfrm>
          <a:prstGeom prst="rect">
            <a:avLst/>
          </a:prstGeom>
          <a:solidFill>
            <a:srgbClr val="FFE6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IN" sz="1199">
              <a:solidFill>
                <a:schemeClr val="tx1"/>
              </a:solidFill>
            </a:endParaRPr>
          </a:p>
        </p:txBody>
      </p:sp>
      <p:sp>
        <p:nvSpPr>
          <p:cNvPr id="34" name="Freeform: Shape 33">
            <a:extLst>
              <a:ext uri="{FF2B5EF4-FFF2-40B4-BE49-F238E27FC236}">
                <a16:creationId xmlns:a16="http://schemas.microsoft.com/office/drawing/2014/main" id="{782EE2C7-F52C-4433-8BBD-0CFE500D701B}"/>
              </a:ext>
            </a:extLst>
          </p:cNvPr>
          <p:cNvSpPr/>
          <p:nvPr userDrawn="1"/>
        </p:nvSpPr>
        <p:spPr>
          <a:xfrm>
            <a:off x="4498656" y="6698294"/>
            <a:ext cx="4141363" cy="159706"/>
          </a:xfrm>
          <a:custGeom>
            <a:avLst/>
            <a:gdLst>
              <a:gd name="connsiteX0" fmla="*/ 381462 w 4143520"/>
              <a:gd name="connsiteY0" fmla="*/ 0 h 159706"/>
              <a:gd name="connsiteX1" fmla="*/ 4126181 w 4143520"/>
              <a:gd name="connsiteY1" fmla="*/ 0 h 159706"/>
              <a:gd name="connsiteX2" fmla="*/ 4143520 w 4143520"/>
              <a:gd name="connsiteY2" fmla="*/ 159706 h 159706"/>
              <a:gd name="connsiteX3" fmla="*/ 0 w 4143520"/>
              <a:gd name="connsiteY3" fmla="*/ 159706 h 159706"/>
              <a:gd name="connsiteX4" fmla="*/ 381462 w 4143520"/>
              <a:gd name="connsiteY4" fmla="*/ 0 h 1597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143520" h="159706">
                <a:moveTo>
                  <a:pt x="381462" y="0"/>
                </a:moveTo>
                <a:lnTo>
                  <a:pt x="4126181" y="0"/>
                </a:lnTo>
                <a:lnTo>
                  <a:pt x="4143520" y="159706"/>
                </a:lnTo>
                <a:lnTo>
                  <a:pt x="0" y="159706"/>
                </a:lnTo>
                <a:lnTo>
                  <a:pt x="381462" y="0"/>
                </a:lnTo>
                <a:close/>
              </a:path>
            </a:pathLst>
          </a:custGeom>
          <a:solidFill>
            <a:srgbClr val="74748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algn="ctr"/>
            <a:endParaRPr lang="en-IN" sz="1199">
              <a:solidFill>
                <a:schemeClr val="tx1"/>
              </a:solidFill>
            </a:endParaRPr>
          </a:p>
        </p:txBody>
      </p:sp>
      <p:sp>
        <p:nvSpPr>
          <p:cNvPr id="35" name="Freeform: Shape 34">
            <a:extLst>
              <a:ext uri="{FF2B5EF4-FFF2-40B4-BE49-F238E27FC236}">
                <a16:creationId xmlns:a16="http://schemas.microsoft.com/office/drawing/2014/main" id="{C4BC307C-B17F-4AE4-B744-AC4A4497E078}"/>
              </a:ext>
            </a:extLst>
          </p:cNvPr>
          <p:cNvSpPr/>
          <p:nvPr userDrawn="1"/>
        </p:nvSpPr>
        <p:spPr>
          <a:xfrm>
            <a:off x="7032919" y="6617110"/>
            <a:ext cx="5159081" cy="240890"/>
          </a:xfrm>
          <a:custGeom>
            <a:avLst/>
            <a:gdLst>
              <a:gd name="connsiteX0" fmla="*/ 516514 w 5155418"/>
              <a:gd name="connsiteY0" fmla="*/ 0 h 240890"/>
              <a:gd name="connsiteX1" fmla="*/ 5155418 w 5155418"/>
              <a:gd name="connsiteY1" fmla="*/ 0 h 240890"/>
              <a:gd name="connsiteX2" fmla="*/ 5155418 w 5155418"/>
              <a:gd name="connsiteY2" fmla="*/ 240890 h 240890"/>
              <a:gd name="connsiteX3" fmla="*/ 0 w 5155418"/>
              <a:gd name="connsiteY3" fmla="*/ 240890 h 240890"/>
              <a:gd name="connsiteX4" fmla="*/ 516514 w 5155418"/>
              <a:gd name="connsiteY4" fmla="*/ 0 h 2408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55418" h="240890">
                <a:moveTo>
                  <a:pt x="516514" y="0"/>
                </a:moveTo>
                <a:lnTo>
                  <a:pt x="5155418" y="0"/>
                </a:lnTo>
                <a:lnTo>
                  <a:pt x="5155418" y="240890"/>
                </a:lnTo>
                <a:lnTo>
                  <a:pt x="0" y="240890"/>
                </a:lnTo>
                <a:lnTo>
                  <a:pt x="516514" y="0"/>
                </a:lnTo>
                <a:close/>
              </a:path>
            </a:pathLst>
          </a:custGeom>
          <a:solidFill>
            <a:srgbClr val="2E2E38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algn="ctr"/>
            <a:endParaRPr lang="en-IN" sz="1199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7296180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xecutive Summary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Picture 20" descr="Two people looking at a computer&#10;&#10;Description automatically generated">
            <a:extLst>
              <a:ext uri="{FF2B5EF4-FFF2-40B4-BE49-F238E27FC236}">
                <a16:creationId xmlns:a16="http://schemas.microsoft.com/office/drawing/2014/main" id="{2E51A2F5-1541-4D14-BA1C-C2092BE2DFD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772" y="19866"/>
            <a:ext cx="12192000" cy="6858000"/>
          </a:xfrm>
          <a:prstGeom prst="rect">
            <a:avLst/>
          </a:prstGeom>
        </p:spPr>
      </p:pic>
      <p:sp>
        <p:nvSpPr>
          <p:cNvPr id="15" name="Rechteck 9">
            <a:extLst>
              <a:ext uri="{FF2B5EF4-FFF2-40B4-BE49-F238E27FC236}">
                <a16:creationId xmlns:a16="http://schemas.microsoft.com/office/drawing/2014/main" id="{D7152879-FFE8-4ED9-B5E8-6E2CBCCC3CF0}"/>
              </a:ext>
            </a:extLst>
          </p:cNvPr>
          <p:cNvSpPr>
            <a:spLocks/>
          </p:cNvSpPr>
          <p:nvPr userDrawn="1"/>
        </p:nvSpPr>
        <p:spPr bwMode="gray">
          <a:xfrm flipV="1">
            <a:off x="9771" y="19866"/>
            <a:ext cx="12182229" cy="6858000"/>
          </a:xfrm>
          <a:prstGeom prst="rect">
            <a:avLst/>
          </a:prstGeom>
          <a:solidFill>
            <a:sysClr val="windowText" lastClr="000000">
              <a:alpha val="62000"/>
            </a:sysClr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61136" tIns="61136" rIns="61136" bIns="6113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943">
              <a:defRPr/>
            </a:pPr>
            <a:endParaRPr lang="en-US" sz="999" kern="0">
              <a:solidFill>
                <a:prstClr val="black"/>
              </a:solidFill>
              <a:latin typeface="EYInterstate Light" panose="02000506000000020004" pitchFamily="2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26FA8D3-5DC4-456A-AB3E-A81D434A4C7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0135" y="3448866"/>
            <a:ext cx="11277839" cy="590880"/>
          </a:xfrm>
          <a:prstGeom prst="rect">
            <a:avLst/>
          </a:prstGeom>
        </p:spPr>
        <p:txBody>
          <a:bodyPr/>
          <a:lstStyle>
            <a:lvl1pPr>
              <a:defRPr sz="6000" b="1">
                <a:solidFill>
                  <a:schemeClr val="tx2"/>
                </a:solidFill>
                <a:latin typeface="EYInterstate" panose="02000503020000020004" pitchFamily="2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FD6146DD-9422-43D9-A5AA-1E24B31DEC0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60374" y="4427538"/>
            <a:ext cx="9381457" cy="116681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4400">
                <a:solidFill>
                  <a:schemeClr val="tx1"/>
                </a:solidFill>
              </a:defRPr>
            </a:lvl1pPr>
            <a:lvl2pPr marL="356437" indent="0">
              <a:buNone/>
              <a:defRPr sz="4400">
                <a:solidFill>
                  <a:schemeClr val="tx1"/>
                </a:solidFill>
              </a:defRPr>
            </a:lvl2pPr>
            <a:lvl3pPr marL="712875" indent="0">
              <a:buNone/>
              <a:defRPr sz="4400">
                <a:solidFill>
                  <a:schemeClr val="tx1"/>
                </a:solidFill>
              </a:defRPr>
            </a:lvl3pPr>
            <a:lvl4pPr marL="1069313" indent="0">
              <a:buNone/>
              <a:defRPr sz="4400">
                <a:solidFill>
                  <a:schemeClr val="tx1"/>
                </a:solidFill>
              </a:defRPr>
            </a:lvl4pPr>
            <a:lvl5pPr marL="1425750" indent="0">
              <a:buNone/>
              <a:defRPr sz="4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</a:t>
            </a: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B3420250-C346-42E8-B0CB-FB46614BFFA7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460136" y="6295496"/>
            <a:ext cx="302897" cy="310988"/>
            <a:chOff x="7110" y="4004"/>
            <a:chExt cx="191" cy="196"/>
          </a:xfrm>
        </p:grpSpPr>
        <p:sp>
          <p:nvSpPr>
            <p:cNvPr id="19" name="Freeform 5">
              <a:extLst>
                <a:ext uri="{FF2B5EF4-FFF2-40B4-BE49-F238E27FC236}">
                  <a16:creationId xmlns:a16="http://schemas.microsoft.com/office/drawing/2014/main" id="{8BC591EA-4862-451C-A868-E2FE02D24F2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rgbClr val="FFE6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913486"/>
              <a:endParaRPr lang="en-IN" sz="1798">
                <a:solidFill>
                  <a:schemeClr val="tx1"/>
                </a:solidFill>
                <a:latin typeface="EYInterstate Light"/>
              </a:endParaRPr>
            </a:p>
          </p:txBody>
        </p:sp>
        <p:sp>
          <p:nvSpPr>
            <p:cNvPr id="20" name="Freeform 6">
              <a:extLst>
                <a:ext uri="{FF2B5EF4-FFF2-40B4-BE49-F238E27FC236}">
                  <a16:creationId xmlns:a16="http://schemas.microsoft.com/office/drawing/2014/main" id="{C095D7F0-1FB9-4F1C-A11B-C0AE951B9B7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913486"/>
              <a:endParaRPr lang="en-IN" sz="1798">
                <a:solidFill>
                  <a:schemeClr val="tx1"/>
                </a:solidFill>
                <a:latin typeface="EYInterstate Light"/>
              </a:endParaRPr>
            </a:p>
          </p:txBody>
        </p:sp>
        <p:sp>
          <p:nvSpPr>
            <p:cNvPr id="23" name="Freeform 7">
              <a:extLst>
                <a:ext uri="{FF2B5EF4-FFF2-40B4-BE49-F238E27FC236}">
                  <a16:creationId xmlns:a16="http://schemas.microsoft.com/office/drawing/2014/main" id="{6DFCA743-DFF0-4436-9648-062CA56E95C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913486"/>
              <a:endParaRPr lang="en-IN" sz="1798">
                <a:solidFill>
                  <a:schemeClr val="tx1"/>
                </a:solidFill>
                <a:latin typeface="EYInterstate Light"/>
              </a:endParaRPr>
            </a:p>
          </p:txBody>
        </p:sp>
      </p:grpSp>
      <p:sp>
        <p:nvSpPr>
          <p:cNvPr id="25" name="TextBox 24">
            <a:extLst>
              <a:ext uri="{FF2B5EF4-FFF2-40B4-BE49-F238E27FC236}">
                <a16:creationId xmlns:a16="http://schemas.microsoft.com/office/drawing/2014/main" id="{E6286A4D-684F-4EBB-BE99-BC26B5AFB8B1}"/>
              </a:ext>
            </a:extLst>
          </p:cNvPr>
          <p:cNvSpPr txBox="1"/>
          <p:nvPr userDrawn="1"/>
        </p:nvSpPr>
        <p:spPr>
          <a:xfrm>
            <a:off x="11515093" y="6344927"/>
            <a:ext cx="363350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3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5B76411-544C-4F9A-8EDE-9EEB2BD21F95}" type="slidenum">
              <a:rPr kumimoji="0" lang="en-IN" sz="999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rPr>
              <a:pPr marL="0" marR="0" lvl="0" indent="0" algn="l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GB" sz="999">
              <a:solidFill>
                <a:schemeClr val="tx1"/>
              </a:solidFill>
            </a:endParaRP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A219BB24-474B-4A8A-A689-294BBF5ECB2D}"/>
              </a:ext>
            </a:extLst>
          </p:cNvPr>
          <p:cNvCxnSpPr>
            <a:cxnSpLocks/>
          </p:cNvCxnSpPr>
          <p:nvPr userDrawn="1"/>
        </p:nvCxnSpPr>
        <p:spPr>
          <a:xfrm flipV="1">
            <a:off x="11539641" y="6340929"/>
            <a:ext cx="0" cy="182030"/>
          </a:xfrm>
          <a:prstGeom prst="line">
            <a:avLst/>
          </a:prstGeom>
          <a:ln w="12700">
            <a:solidFill>
              <a:schemeClr val="tx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Rectangle 26">
            <a:extLst>
              <a:ext uri="{FF2B5EF4-FFF2-40B4-BE49-F238E27FC236}">
                <a16:creationId xmlns:a16="http://schemas.microsoft.com/office/drawing/2014/main" id="{D75C1E44-DEC5-4FDB-9232-344A3A83FB3D}"/>
              </a:ext>
            </a:extLst>
          </p:cNvPr>
          <p:cNvSpPr/>
          <p:nvPr userDrawn="1"/>
        </p:nvSpPr>
        <p:spPr>
          <a:xfrm>
            <a:off x="-1" y="6781189"/>
            <a:ext cx="4929029" cy="76811"/>
          </a:xfrm>
          <a:prstGeom prst="rect">
            <a:avLst/>
          </a:prstGeom>
          <a:solidFill>
            <a:srgbClr val="FFE6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IN" sz="1199">
              <a:solidFill>
                <a:schemeClr val="tx1"/>
              </a:solidFill>
            </a:endParaRPr>
          </a:p>
        </p:txBody>
      </p:sp>
      <p:sp>
        <p:nvSpPr>
          <p:cNvPr id="28" name="Freeform: Shape 27">
            <a:extLst>
              <a:ext uri="{FF2B5EF4-FFF2-40B4-BE49-F238E27FC236}">
                <a16:creationId xmlns:a16="http://schemas.microsoft.com/office/drawing/2014/main" id="{629BE2D2-813F-4FBA-AD29-3A58FA8DF6B2}"/>
              </a:ext>
            </a:extLst>
          </p:cNvPr>
          <p:cNvSpPr/>
          <p:nvPr userDrawn="1"/>
        </p:nvSpPr>
        <p:spPr>
          <a:xfrm>
            <a:off x="4498656" y="6698294"/>
            <a:ext cx="4141363" cy="159706"/>
          </a:xfrm>
          <a:custGeom>
            <a:avLst/>
            <a:gdLst>
              <a:gd name="connsiteX0" fmla="*/ 381462 w 4143520"/>
              <a:gd name="connsiteY0" fmla="*/ 0 h 159706"/>
              <a:gd name="connsiteX1" fmla="*/ 4126181 w 4143520"/>
              <a:gd name="connsiteY1" fmla="*/ 0 h 159706"/>
              <a:gd name="connsiteX2" fmla="*/ 4143520 w 4143520"/>
              <a:gd name="connsiteY2" fmla="*/ 159706 h 159706"/>
              <a:gd name="connsiteX3" fmla="*/ 0 w 4143520"/>
              <a:gd name="connsiteY3" fmla="*/ 159706 h 159706"/>
              <a:gd name="connsiteX4" fmla="*/ 381462 w 4143520"/>
              <a:gd name="connsiteY4" fmla="*/ 0 h 1597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143520" h="159706">
                <a:moveTo>
                  <a:pt x="381462" y="0"/>
                </a:moveTo>
                <a:lnTo>
                  <a:pt x="4126181" y="0"/>
                </a:lnTo>
                <a:lnTo>
                  <a:pt x="4143520" y="159706"/>
                </a:lnTo>
                <a:lnTo>
                  <a:pt x="0" y="159706"/>
                </a:lnTo>
                <a:lnTo>
                  <a:pt x="381462" y="0"/>
                </a:lnTo>
                <a:close/>
              </a:path>
            </a:pathLst>
          </a:custGeom>
          <a:solidFill>
            <a:srgbClr val="74748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algn="ctr"/>
            <a:endParaRPr lang="en-IN" sz="1199">
              <a:solidFill>
                <a:schemeClr val="tx1"/>
              </a:solidFill>
            </a:endParaRPr>
          </a:p>
        </p:txBody>
      </p:sp>
      <p:sp>
        <p:nvSpPr>
          <p:cNvPr id="29" name="Freeform: Shape 28">
            <a:extLst>
              <a:ext uri="{FF2B5EF4-FFF2-40B4-BE49-F238E27FC236}">
                <a16:creationId xmlns:a16="http://schemas.microsoft.com/office/drawing/2014/main" id="{F637116E-830D-49CA-9539-1770B9EBA52D}"/>
              </a:ext>
            </a:extLst>
          </p:cNvPr>
          <p:cNvSpPr/>
          <p:nvPr userDrawn="1"/>
        </p:nvSpPr>
        <p:spPr>
          <a:xfrm>
            <a:off x="7032919" y="6617110"/>
            <a:ext cx="5159081" cy="240890"/>
          </a:xfrm>
          <a:custGeom>
            <a:avLst/>
            <a:gdLst>
              <a:gd name="connsiteX0" fmla="*/ 516514 w 5155418"/>
              <a:gd name="connsiteY0" fmla="*/ 0 h 240890"/>
              <a:gd name="connsiteX1" fmla="*/ 5155418 w 5155418"/>
              <a:gd name="connsiteY1" fmla="*/ 0 h 240890"/>
              <a:gd name="connsiteX2" fmla="*/ 5155418 w 5155418"/>
              <a:gd name="connsiteY2" fmla="*/ 240890 h 240890"/>
              <a:gd name="connsiteX3" fmla="*/ 0 w 5155418"/>
              <a:gd name="connsiteY3" fmla="*/ 240890 h 240890"/>
              <a:gd name="connsiteX4" fmla="*/ 516514 w 5155418"/>
              <a:gd name="connsiteY4" fmla="*/ 0 h 2408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55418" h="240890">
                <a:moveTo>
                  <a:pt x="516514" y="0"/>
                </a:moveTo>
                <a:lnTo>
                  <a:pt x="5155418" y="0"/>
                </a:lnTo>
                <a:lnTo>
                  <a:pt x="5155418" y="240890"/>
                </a:lnTo>
                <a:lnTo>
                  <a:pt x="0" y="240890"/>
                </a:lnTo>
                <a:lnTo>
                  <a:pt x="516514" y="0"/>
                </a:lnTo>
                <a:close/>
              </a:path>
            </a:pathLst>
          </a:custGeom>
          <a:solidFill>
            <a:srgbClr val="2E2E38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algn="ctr"/>
            <a:endParaRPr lang="en-IN" sz="1199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6028954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261063DC-B33E-4F2A-87A5-19A0E58FE6EA}"/>
              </a:ext>
            </a:extLst>
          </p:cNvPr>
          <p:cNvSpPr/>
          <p:nvPr userDrawn="1"/>
        </p:nvSpPr>
        <p:spPr>
          <a:xfrm>
            <a:off x="0" y="-16992"/>
            <a:ext cx="12192000" cy="6874992"/>
          </a:xfrm>
          <a:prstGeom prst="rect">
            <a:avLst/>
          </a:prstGeo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l="-10000" t="-48000" r="-26000" b="-22000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5EF033F3-660E-4AE3-9070-BC1B711E4F66}"/>
              </a:ext>
            </a:extLst>
          </p:cNvPr>
          <p:cNvGrpSpPr/>
          <p:nvPr userDrawn="1"/>
        </p:nvGrpSpPr>
        <p:grpSpPr>
          <a:xfrm>
            <a:off x="0" y="-16992"/>
            <a:ext cx="12192000" cy="6789309"/>
            <a:chOff x="0" y="-16992"/>
            <a:chExt cx="12192000" cy="6827399"/>
          </a:xfrm>
        </p:grpSpPr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3D390C9E-A381-4D79-8A95-F8CD06B84717}"/>
                </a:ext>
              </a:extLst>
            </p:cNvPr>
            <p:cNvSpPr/>
            <p:nvPr/>
          </p:nvSpPr>
          <p:spPr>
            <a:xfrm>
              <a:off x="0" y="-16992"/>
              <a:ext cx="12192000" cy="6251776"/>
            </a:xfrm>
            <a:prstGeom prst="rect">
              <a:avLst/>
            </a:prstGeom>
            <a:solidFill>
              <a:schemeClr val="bg1">
                <a:alpha val="81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/>
              <a:endParaRPr lang="en-IN" sz="1200" dirty="0">
                <a:solidFill>
                  <a:schemeClr val="tx1"/>
                </a:solidFill>
              </a:endParaRPr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3D078361-D350-465E-A23F-6D5DA9A9A588}"/>
                </a:ext>
              </a:extLst>
            </p:cNvPr>
            <p:cNvSpPr/>
            <p:nvPr/>
          </p:nvSpPr>
          <p:spPr>
            <a:xfrm>
              <a:off x="0" y="1532645"/>
              <a:ext cx="12192000" cy="5277762"/>
            </a:xfrm>
            <a:prstGeom prst="rect">
              <a:avLst/>
            </a:prstGeom>
            <a:solidFill>
              <a:schemeClr val="tx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/>
              <a:r>
                <a:rPr lang="en-IN" sz="1200" dirty="0">
                  <a:solidFill>
                    <a:schemeClr val="tx1"/>
                  </a:solidFill>
                </a:rPr>
                <a:t>                                                                               </a:t>
              </a:r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C3847A7-DDEE-0C33-E5DD-1308288284B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0390" y="426278"/>
            <a:ext cx="11208027" cy="509518"/>
          </a:xfrm>
          <a:prstGeom prst="rect">
            <a:avLst/>
          </a:prstGeom>
        </p:spPr>
        <p:txBody>
          <a:bodyPr/>
          <a:lstStyle>
            <a:lvl1pPr>
              <a:defRPr sz="2000"/>
            </a:lvl1pPr>
          </a:lstStyle>
          <a:p>
            <a:r>
              <a:rPr lang="en-GB" dirty="0"/>
              <a:t>Click to edit Master title style</a:t>
            </a:r>
            <a:endParaRPr lang="en-US" dirty="0"/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11C27DD5-1694-4E0E-848D-D16518137907}"/>
              </a:ext>
            </a:extLst>
          </p:cNvPr>
          <p:cNvCxnSpPr>
            <a:cxnSpLocks/>
          </p:cNvCxnSpPr>
          <p:nvPr userDrawn="1"/>
        </p:nvCxnSpPr>
        <p:spPr>
          <a:xfrm flipV="1">
            <a:off x="11539641" y="6454938"/>
            <a:ext cx="0" cy="182030"/>
          </a:xfrm>
          <a:prstGeom prst="line">
            <a:avLst/>
          </a:prstGeom>
          <a:ln w="12700">
            <a:solidFill>
              <a:schemeClr val="bg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Footer Placeholder 2">
            <a:extLst>
              <a:ext uri="{FF2B5EF4-FFF2-40B4-BE49-F238E27FC236}">
                <a16:creationId xmlns:a16="http://schemas.microsoft.com/office/drawing/2014/main" id="{270F5052-E5BF-4AD4-B797-9492DBF0C88C}"/>
              </a:ext>
            </a:extLst>
          </p:cNvPr>
          <p:cNvSpPr txBox="1">
            <a:spLocks/>
          </p:cNvSpPr>
          <p:nvPr userDrawn="1"/>
        </p:nvSpPr>
        <p:spPr>
          <a:xfrm>
            <a:off x="4553754" y="6644245"/>
            <a:ext cx="3084493" cy="18000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>
              <a:defRPr sz="800">
                <a:solidFill>
                  <a:schemeClr val="bg1"/>
                </a:solidFill>
                <a:latin typeface="EYInterstate" panose="02000503020000020004" pitchFamily="2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algn="ctr" defTabSz="913943" rtl="0" eaLnBrk="1" latinLnBrk="0" hangingPunct="1"/>
            <a:endParaRPr lang="en-US" sz="800" kern="1200">
              <a:solidFill>
                <a:srgbClr val="2E2E38"/>
              </a:solidFill>
              <a:latin typeface="EYInterstate" panose="02000503020000020004" pitchFamily="2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4605502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Final leg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Content Placeholder 3">
            <a:extLst>
              <a:ext uri="{FF2B5EF4-FFF2-40B4-BE49-F238E27FC236}">
                <a16:creationId xmlns:a16="http://schemas.microsoft.com/office/drawing/2014/main" id="{E83BDE2E-2BCF-4140-945E-7D5610CDE4C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49" y="0"/>
            <a:ext cx="12185658" cy="6858000"/>
          </a:xfrm>
          <a:prstGeom prst="rect">
            <a:avLst/>
          </a:prstGeom>
        </p:spPr>
      </p:pic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607483" y="719139"/>
            <a:ext cx="4675200" cy="5210062"/>
          </a:xfrm>
        </p:spPr>
        <p:txBody>
          <a:bodyPr/>
          <a:lstStyle>
            <a:lvl1pPr marL="0" indent="0" algn="l" defTabSz="994865" rtl="0" fontAlgn="base">
              <a:lnSpc>
                <a:spcPct val="100000"/>
              </a:lnSpc>
              <a:spcBef>
                <a:spcPct val="70000"/>
              </a:spcBef>
              <a:spcAft>
                <a:spcPct val="0"/>
              </a:spcAft>
              <a:buSzPct val="100000"/>
              <a:buNone/>
              <a:defRPr lang="en-US" sz="1199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1pPr>
            <a:lvl2pPr marL="0" indent="0" algn="l" defTabSz="994865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900" b="1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2pPr>
            <a:lvl3pPr marL="176125" indent="-176125" algn="l" defTabSz="994865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Arial" pitchFamily="34" charset="0"/>
              <a:buChar char="►"/>
              <a:defRPr lang="en-US" sz="900" b="1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3pPr>
            <a:lvl4pPr marL="0" indent="0" algn="l" defTabSz="994865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800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4pPr>
            <a:lvl5pPr marL="188819" indent="-188819" algn="l" defTabSz="994865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Arial" pitchFamily="34" charset="0"/>
              <a:buChar char="►"/>
              <a:defRPr lang="en-US" sz="800" kern="1200" noProof="0" dirty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59050613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9C4DA3F9-45C1-40A1-94F3-7998D06BAC4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2159777805"/>
              </p:ext>
            </p:extLst>
          </p:nvPr>
        </p:nvGraphicFramePr>
        <p:xfrm>
          <a:off x="1587" y="1588"/>
          <a:ext cx="158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21" imgH="423" progId="TCLayout.ActiveDocument.1">
                  <p:embed/>
                </p:oleObj>
              </mc:Choice>
              <mc:Fallback>
                <p:oleObj name="think-cell Slide" r:id="rId10" imgW="421" imgH="42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9C4DA3F9-45C1-40A1-94F3-7998D06BAC4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5" name="Group 14">
            <a:extLst>
              <a:ext uri="{FF2B5EF4-FFF2-40B4-BE49-F238E27FC236}">
                <a16:creationId xmlns:a16="http://schemas.microsoft.com/office/drawing/2014/main" id="{1C85F36B-8FFE-4175-B06D-FB93B9F825B3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460136" y="6295496"/>
            <a:ext cx="302897" cy="310988"/>
            <a:chOff x="7110" y="4004"/>
            <a:chExt cx="191" cy="196"/>
          </a:xfrm>
        </p:grpSpPr>
        <p:sp>
          <p:nvSpPr>
            <p:cNvPr id="16" name="Freeform 5">
              <a:extLst>
                <a:ext uri="{FF2B5EF4-FFF2-40B4-BE49-F238E27FC236}">
                  <a16:creationId xmlns:a16="http://schemas.microsoft.com/office/drawing/2014/main" id="{BB7828B2-A2AD-4E34-B977-1BD12FD8BB4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rgbClr val="FFE6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913486"/>
              <a:endParaRPr lang="en-IN" sz="1798">
                <a:solidFill>
                  <a:srgbClr val="2E2E38"/>
                </a:solidFill>
                <a:latin typeface="EYInterstate Light"/>
              </a:endParaRPr>
            </a:p>
          </p:txBody>
        </p:sp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E6B47388-8FC2-4DC1-BE06-907F0EE0501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913486"/>
              <a:endParaRPr lang="en-IN" sz="1798">
                <a:solidFill>
                  <a:srgbClr val="2E2E38"/>
                </a:solidFill>
                <a:latin typeface="EYInterstate Light"/>
              </a:endParaRPr>
            </a:p>
          </p:txBody>
        </p:sp>
        <p:sp>
          <p:nvSpPr>
            <p:cNvPr id="18" name="Freeform 7">
              <a:extLst>
                <a:ext uri="{FF2B5EF4-FFF2-40B4-BE49-F238E27FC236}">
                  <a16:creationId xmlns:a16="http://schemas.microsoft.com/office/drawing/2014/main" id="{EC10993F-3CC9-459F-A52A-D66F02C1468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913486"/>
              <a:endParaRPr lang="en-IN" sz="1798">
                <a:solidFill>
                  <a:srgbClr val="2E2E38"/>
                </a:solidFill>
                <a:latin typeface="EYInterstate Light"/>
              </a:endParaRPr>
            </a:p>
          </p:txBody>
        </p:sp>
      </p:grpSp>
      <p:sp>
        <p:nvSpPr>
          <p:cNvPr id="26" name="TextBox 25">
            <a:extLst>
              <a:ext uri="{FF2B5EF4-FFF2-40B4-BE49-F238E27FC236}">
                <a16:creationId xmlns:a16="http://schemas.microsoft.com/office/drawing/2014/main" id="{A3F42660-C406-4FD8-BD6B-F58985580A4B}"/>
              </a:ext>
            </a:extLst>
          </p:cNvPr>
          <p:cNvSpPr txBox="1"/>
          <p:nvPr userDrawn="1"/>
        </p:nvSpPr>
        <p:spPr>
          <a:xfrm>
            <a:off x="7800975" y="6344927"/>
            <a:ext cx="3738449" cy="24609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>
              <a:lnSpc>
                <a:spcPct val="100000"/>
              </a:lnSpc>
            </a:pPr>
            <a:r>
              <a:rPr lang="en-US" sz="999" b="0" dirty="0">
                <a:solidFill>
                  <a:schemeClr val="bg1"/>
                </a:solidFill>
              </a:rPr>
              <a:t>Rockstar Bios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D00C0D60-1EF3-49A7-97C7-5446E6427DD7}"/>
              </a:ext>
            </a:extLst>
          </p:cNvPr>
          <p:cNvSpPr txBox="1"/>
          <p:nvPr userDrawn="1"/>
        </p:nvSpPr>
        <p:spPr>
          <a:xfrm>
            <a:off x="11515093" y="6344927"/>
            <a:ext cx="363350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3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5B76411-544C-4F9A-8EDE-9EEB2BD21F95}" type="slidenum">
              <a:rPr kumimoji="0" lang="en-IN" sz="999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rPr>
              <a:pPr marL="0" marR="0" lvl="0" indent="0" algn="l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GB" sz="999">
              <a:solidFill>
                <a:schemeClr val="bg1"/>
              </a:solidFill>
            </a:endParaRPr>
          </a:p>
        </p:txBody>
      </p: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26D9C261-F077-4E33-A77E-E282F8B89CC9}"/>
              </a:ext>
            </a:extLst>
          </p:cNvPr>
          <p:cNvCxnSpPr>
            <a:cxnSpLocks/>
          </p:cNvCxnSpPr>
          <p:nvPr userDrawn="1"/>
        </p:nvCxnSpPr>
        <p:spPr>
          <a:xfrm flipV="1">
            <a:off x="11539641" y="6340929"/>
            <a:ext cx="0" cy="182030"/>
          </a:xfrm>
          <a:prstGeom prst="line">
            <a:avLst/>
          </a:prstGeom>
          <a:ln w="12700">
            <a:solidFill>
              <a:schemeClr val="bg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Line 10">
            <a:extLst>
              <a:ext uri="{FF2B5EF4-FFF2-40B4-BE49-F238E27FC236}">
                <a16:creationId xmlns:a16="http://schemas.microsoft.com/office/drawing/2014/main" id="{BFC293BD-62FC-4F24-8ABB-4486E6D3023B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460136" y="828484"/>
            <a:ext cx="11247120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9" noProof="0">
              <a:solidFill>
                <a:schemeClr val="bg1"/>
              </a:solidFill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33387F4A-D51F-4B4F-98F6-BDCFBC96D4DE}"/>
              </a:ext>
            </a:extLst>
          </p:cNvPr>
          <p:cNvSpPr/>
          <p:nvPr userDrawn="1"/>
        </p:nvSpPr>
        <p:spPr>
          <a:xfrm>
            <a:off x="-1" y="6781189"/>
            <a:ext cx="4929029" cy="76811"/>
          </a:xfrm>
          <a:prstGeom prst="rect">
            <a:avLst/>
          </a:prstGeom>
          <a:solidFill>
            <a:srgbClr val="FFE6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IN" sz="1199">
              <a:solidFill>
                <a:schemeClr val="tx1"/>
              </a:solidFill>
            </a:endParaRPr>
          </a:p>
        </p:txBody>
      </p:sp>
      <p:sp>
        <p:nvSpPr>
          <p:cNvPr id="20" name="Freeform: Shape 19">
            <a:extLst>
              <a:ext uri="{FF2B5EF4-FFF2-40B4-BE49-F238E27FC236}">
                <a16:creationId xmlns:a16="http://schemas.microsoft.com/office/drawing/2014/main" id="{AD5D0509-1009-4965-A844-A8BAC03DE57E}"/>
              </a:ext>
            </a:extLst>
          </p:cNvPr>
          <p:cNvSpPr/>
          <p:nvPr userDrawn="1"/>
        </p:nvSpPr>
        <p:spPr>
          <a:xfrm>
            <a:off x="4498656" y="6698294"/>
            <a:ext cx="4141363" cy="159706"/>
          </a:xfrm>
          <a:custGeom>
            <a:avLst/>
            <a:gdLst>
              <a:gd name="connsiteX0" fmla="*/ 381462 w 4143520"/>
              <a:gd name="connsiteY0" fmla="*/ 0 h 159706"/>
              <a:gd name="connsiteX1" fmla="*/ 4126181 w 4143520"/>
              <a:gd name="connsiteY1" fmla="*/ 0 h 159706"/>
              <a:gd name="connsiteX2" fmla="*/ 4143520 w 4143520"/>
              <a:gd name="connsiteY2" fmla="*/ 159706 h 159706"/>
              <a:gd name="connsiteX3" fmla="*/ 0 w 4143520"/>
              <a:gd name="connsiteY3" fmla="*/ 159706 h 159706"/>
              <a:gd name="connsiteX4" fmla="*/ 381462 w 4143520"/>
              <a:gd name="connsiteY4" fmla="*/ 0 h 1597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143520" h="159706">
                <a:moveTo>
                  <a:pt x="381462" y="0"/>
                </a:moveTo>
                <a:lnTo>
                  <a:pt x="4126181" y="0"/>
                </a:lnTo>
                <a:lnTo>
                  <a:pt x="4143520" y="159706"/>
                </a:lnTo>
                <a:lnTo>
                  <a:pt x="0" y="159706"/>
                </a:lnTo>
                <a:lnTo>
                  <a:pt x="381462" y="0"/>
                </a:lnTo>
                <a:close/>
              </a:path>
            </a:pathLst>
          </a:custGeom>
          <a:solidFill>
            <a:srgbClr val="74748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algn="ctr"/>
            <a:endParaRPr lang="en-IN" sz="1199">
              <a:solidFill>
                <a:schemeClr val="tx1"/>
              </a:solidFill>
            </a:endParaRPr>
          </a:p>
        </p:txBody>
      </p:sp>
      <p:sp>
        <p:nvSpPr>
          <p:cNvPr id="21" name="Freeform: Shape 20">
            <a:extLst>
              <a:ext uri="{FF2B5EF4-FFF2-40B4-BE49-F238E27FC236}">
                <a16:creationId xmlns:a16="http://schemas.microsoft.com/office/drawing/2014/main" id="{29B8AEFE-DBA6-46DB-BC51-7988059D895A}"/>
              </a:ext>
            </a:extLst>
          </p:cNvPr>
          <p:cNvSpPr/>
          <p:nvPr userDrawn="1"/>
        </p:nvSpPr>
        <p:spPr>
          <a:xfrm>
            <a:off x="7032919" y="6617110"/>
            <a:ext cx="5159081" cy="240890"/>
          </a:xfrm>
          <a:custGeom>
            <a:avLst/>
            <a:gdLst>
              <a:gd name="connsiteX0" fmla="*/ 516514 w 5155418"/>
              <a:gd name="connsiteY0" fmla="*/ 0 h 240890"/>
              <a:gd name="connsiteX1" fmla="*/ 5155418 w 5155418"/>
              <a:gd name="connsiteY1" fmla="*/ 0 h 240890"/>
              <a:gd name="connsiteX2" fmla="*/ 5155418 w 5155418"/>
              <a:gd name="connsiteY2" fmla="*/ 240890 h 240890"/>
              <a:gd name="connsiteX3" fmla="*/ 0 w 5155418"/>
              <a:gd name="connsiteY3" fmla="*/ 240890 h 240890"/>
              <a:gd name="connsiteX4" fmla="*/ 516514 w 5155418"/>
              <a:gd name="connsiteY4" fmla="*/ 0 h 2408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55418" h="240890">
                <a:moveTo>
                  <a:pt x="516514" y="0"/>
                </a:moveTo>
                <a:lnTo>
                  <a:pt x="5155418" y="0"/>
                </a:lnTo>
                <a:lnTo>
                  <a:pt x="5155418" y="240890"/>
                </a:lnTo>
                <a:lnTo>
                  <a:pt x="0" y="240890"/>
                </a:lnTo>
                <a:lnTo>
                  <a:pt x="516514" y="0"/>
                </a:lnTo>
                <a:close/>
              </a:path>
            </a:pathLst>
          </a:custGeom>
          <a:solidFill>
            <a:srgbClr val="2E2E38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algn="ctr"/>
            <a:endParaRPr lang="en-IN" sz="1199">
              <a:solidFill>
                <a:schemeClr val="tx1"/>
              </a:solidFill>
            </a:endParaRPr>
          </a:p>
        </p:txBody>
      </p:sp>
      <p:sp>
        <p:nvSpPr>
          <p:cNvPr id="22" name="Footer Placeholder 2">
            <a:extLst>
              <a:ext uri="{FF2B5EF4-FFF2-40B4-BE49-F238E27FC236}">
                <a16:creationId xmlns:a16="http://schemas.microsoft.com/office/drawing/2014/main" id="{E65A8E09-3EFA-44B0-9AB1-22DD0F154BFE}"/>
              </a:ext>
            </a:extLst>
          </p:cNvPr>
          <p:cNvSpPr txBox="1">
            <a:spLocks/>
          </p:cNvSpPr>
          <p:nvPr userDrawn="1"/>
        </p:nvSpPr>
        <p:spPr>
          <a:xfrm>
            <a:off x="4553754" y="6530236"/>
            <a:ext cx="3084493" cy="18000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>
              <a:defRPr sz="800">
                <a:solidFill>
                  <a:schemeClr val="bg1"/>
                </a:solidFill>
                <a:latin typeface="EYInterstate" panose="02000503020000020004" pitchFamily="2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algn="ctr" defTabSz="913943" rtl="0" eaLnBrk="1" latinLnBrk="0" hangingPunct="1"/>
            <a:endParaRPr lang="en-US" sz="800" kern="1200">
              <a:solidFill>
                <a:srgbClr val="2E2E38"/>
              </a:solidFill>
              <a:latin typeface="EYInterstate" panose="02000503020000020004" pitchFamily="2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29140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</p:sldLayoutIdLst>
  <p:hf sldNum="0" hdr="0" dt="0"/>
  <p:txStyles>
    <p:titleStyle>
      <a:lvl1pPr algn="l" defTabSz="913943" rtl="0" eaLnBrk="1" latinLnBrk="0" hangingPunct="1">
        <a:lnSpc>
          <a:spcPct val="85000"/>
        </a:lnSpc>
        <a:spcBef>
          <a:spcPct val="0"/>
        </a:spcBef>
        <a:buNone/>
        <a:defRPr sz="2000" b="0" kern="1200">
          <a:solidFill>
            <a:schemeClr val="bg1"/>
          </a:solidFill>
          <a:latin typeface="EYInterstate Light" panose="02000506000000020004" pitchFamily="2" charset="0"/>
          <a:ea typeface="+mj-ea"/>
          <a:cs typeface="Arial" pitchFamily="34" charset="0"/>
        </a:defRPr>
      </a:lvl1pPr>
    </p:titleStyle>
    <p:bodyStyle>
      <a:lvl1pPr marL="0" indent="0" algn="l" defTabSz="913943" rtl="0" eaLnBrk="1" latinLnBrk="0" hangingPunct="1">
        <a:spcBef>
          <a:spcPct val="20000"/>
        </a:spcBef>
        <a:buClr>
          <a:schemeClr val="tx2"/>
        </a:buClr>
        <a:buSzPct val="70000"/>
        <a:buFont typeface="Arial" pitchFamily="34" charset="0"/>
        <a:buNone/>
        <a:defRPr sz="1100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1pPr>
      <a:lvl2pPr marL="220663" indent="-220663" algn="l" defTabSz="913943" rtl="0" eaLnBrk="1" latinLnBrk="0" hangingPunct="1">
        <a:spcBef>
          <a:spcPct val="20000"/>
        </a:spcBef>
        <a:buClr>
          <a:schemeClr val="tx2"/>
        </a:buClr>
        <a:buSzPct val="70000"/>
        <a:buFont typeface="Arial" pitchFamily="34" charset="0"/>
        <a:buChar char="►"/>
        <a:tabLst/>
        <a:defRPr sz="1100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2pPr>
      <a:lvl3pPr marL="400050" indent="-171450" algn="l" defTabSz="913943" rtl="0" eaLnBrk="1" latinLnBrk="0" hangingPunct="1">
        <a:spcBef>
          <a:spcPct val="20000"/>
        </a:spcBef>
        <a:buClr>
          <a:schemeClr val="tx2"/>
        </a:buClr>
        <a:buSzPct val="70000"/>
        <a:buFont typeface="EYInterstate Light" panose="02000506000000020004" pitchFamily="2" charset="0"/>
        <a:buChar char="−"/>
        <a:defRPr sz="1100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3pPr>
      <a:lvl4pPr marL="625475" indent="-168275" algn="l" defTabSz="913943" rtl="0" eaLnBrk="1" latinLnBrk="0" hangingPunct="1">
        <a:spcBef>
          <a:spcPct val="20000"/>
        </a:spcBef>
        <a:buClr>
          <a:schemeClr val="tx2"/>
        </a:buClr>
        <a:buSzPct val="70000"/>
        <a:buFont typeface="Arial" pitchFamily="34" charset="0"/>
        <a:buChar char="►"/>
        <a:defRPr sz="1100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4pPr>
      <a:lvl5pPr marL="914400" indent="-288925" algn="l" defTabSz="913943" rtl="0" eaLnBrk="1" latinLnBrk="0" hangingPunct="1">
        <a:spcBef>
          <a:spcPct val="20000"/>
        </a:spcBef>
        <a:buClr>
          <a:schemeClr val="tx2"/>
        </a:buClr>
        <a:buSzPct val="70000"/>
        <a:buFont typeface="Arial" pitchFamily="34" charset="0"/>
        <a:buChar char="►"/>
        <a:defRPr sz="1100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5pPr>
      <a:lvl6pPr marL="2513343" indent="-228486" algn="l" defTabSz="913943" rtl="0" eaLnBrk="1" latinLnBrk="0" hangingPunct="1">
        <a:spcBef>
          <a:spcPct val="20000"/>
        </a:spcBef>
        <a:buFont typeface="Arial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6pPr>
      <a:lvl7pPr marL="2970314" indent="-228486" algn="l" defTabSz="913943" rtl="0" eaLnBrk="1" latinLnBrk="0" hangingPunct="1">
        <a:spcBef>
          <a:spcPct val="20000"/>
        </a:spcBef>
        <a:buFont typeface="Arial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7pPr>
      <a:lvl8pPr marL="3427286" indent="-228486" algn="l" defTabSz="913943" rtl="0" eaLnBrk="1" latinLnBrk="0" hangingPunct="1">
        <a:spcBef>
          <a:spcPct val="20000"/>
        </a:spcBef>
        <a:buFont typeface="Arial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8pPr>
      <a:lvl9pPr marL="3884257" indent="-228486" algn="l" defTabSz="913943" rtl="0" eaLnBrk="1" latinLnBrk="0" hangingPunct="1">
        <a:spcBef>
          <a:spcPct val="20000"/>
        </a:spcBef>
        <a:buFont typeface="Arial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1pPr>
      <a:lvl2pPr marL="456971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2pPr>
      <a:lvl3pPr marL="913943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3pPr>
      <a:lvl4pPr marL="1370914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4pPr>
      <a:lvl5pPr marL="1827886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5pPr>
      <a:lvl6pPr marL="2284857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741828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198800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655771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pos="3842">
          <p15:clr>
            <a:srgbClr val="F26B43"/>
          </p15:clr>
        </p15:guide>
        <p15:guide id="3" pos="290">
          <p15:clr>
            <a:srgbClr val="F26B43"/>
          </p15:clr>
        </p15:guide>
        <p15:guide id="4" pos="7394">
          <p15:clr>
            <a:srgbClr val="F26B43"/>
          </p15:clr>
        </p15:guide>
        <p15:guide id="5" orient="horz" pos="712">
          <p15:clr>
            <a:srgbClr val="F26B43"/>
          </p15:clr>
        </p15:guide>
        <p15:guide id="6" orient="horz" pos="3840">
          <p15:clr>
            <a:srgbClr val="F26B43"/>
          </p15:clr>
        </p15:guide>
        <p15:guide id="7" orient="horz" pos="4199">
          <p15:clr>
            <a:srgbClr val="F26B43"/>
          </p15:clr>
        </p15:guide>
        <p15:guide id="8" orient="horz" pos="173">
          <p15:clr>
            <a:srgbClr val="F26B43"/>
          </p15:clr>
        </p15:guide>
        <p15:guide id="9" orient="horz" pos="3995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7" Type="http://schemas.openxmlformats.org/officeDocument/2006/relationships/image" Target="../media/image11.png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2.xml"/><Relationship Id="rId6" Type="http://schemas.openxmlformats.org/officeDocument/2006/relationships/image" Target="../media/image10.png"/><Relationship Id="rId5" Type="http://schemas.openxmlformats.org/officeDocument/2006/relationships/image" Target="../media/image9.emf"/><Relationship Id="rId4" Type="http://schemas.openxmlformats.org/officeDocument/2006/relationships/oleObject" Target="../embeddings/oleObject2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5C8AA136-BDE1-4D43-B176-D5F364394E9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5C8AA136-BDE1-4D43-B176-D5F364394E9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0" name="Group 19">
            <a:extLst>
              <a:ext uri="{FF2B5EF4-FFF2-40B4-BE49-F238E27FC236}">
                <a16:creationId xmlns:a16="http://schemas.microsoft.com/office/drawing/2014/main" id="{033B05EA-8174-4F03-AEC1-E076C6BE96B9}"/>
              </a:ext>
            </a:extLst>
          </p:cNvPr>
          <p:cNvGrpSpPr/>
          <p:nvPr/>
        </p:nvGrpSpPr>
        <p:grpSpPr>
          <a:xfrm>
            <a:off x="0" y="114879"/>
            <a:ext cx="10139675" cy="1454496"/>
            <a:chOff x="2406003" y="332619"/>
            <a:chExt cx="9220653" cy="949772"/>
          </a:xfrm>
        </p:grpSpPr>
        <p:sp>
          <p:nvSpPr>
            <p:cNvPr id="53" name="TextBox 52">
              <a:extLst>
                <a:ext uri="{FF2B5EF4-FFF2-40B4-BE49-F238E27FC236}">
                  <a16:creationId xmlns:a16="http://schemas.microsoft.com/office/drawing/2014/main" id="{712D59FD-CD1B-4AB4-BE18-A615B36379FB}"/>
                </a:ext>
              </a:extLst>
            </p:cNvPr>
            <p:cNvSpPr txBox="1"/>
            <p:nvPr/>
          </p:nvSpPr>
          <p:spPr>
            <a:xfrm>
              <a:off x="2406003" y="332619"/>
              <a:ext cx="1554828" cy="19426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l" defTabSz="99536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FFD200"/>
                </a:buClr>
                <a:buSzPct val="75000"/>
                <a:buFont typeface="Arial Unicode MS" pitchFamily="34" charset="-128"/>
                <a:buNone/>
                <a:tabLst/>
                <a:defRPr/>
              </a:pPr>
              <a:r>
                <a:rPr kumimoji="0" lang="en-GB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FFE600"/>
                  </a:solidFill>
                  <a:effectLst/>
                  <a:uLnTx/>
                  <a:uFillTx/>
                  <a:latin typeface="EYInterstate" pitchFamily="2" charset="0"/>
                  <a:ea typeface="+mn-ea"/>
                  <a:cs typeface="Arial" charset="0"/>
                </a:rPr>
                <a:t>Prithwish Mandal</a:t>
              </a:r>
            </a:p>
          </p:txBody>
        </p:sp>
        <p:sp>
          <p:nvSpPr>
            <p:cNvPr id="72" name="TextBox 71">
              <a:extLst>
                <a:ext uri="{FF2B5EF4-FFF2-40B4-BE49-F238E27FC236}">
                  <a16:creationId xmlns:a16="http://schemas.microsoft.com/office/drawing/2014/main" id="{838E789F-8B2C-4A8C-AA54-D4F99D7EBF56}"/>
                </a:ext>
              </a:extLst>
            </p:cNvPr>
            <p:cNvSpPr txBox="1"/>
            <p:nvPr/>
          </p:nvSpPr>
          <p:spPr>
            <a:xfrm>
              <a:off x="2494138" y="600917"/>
              <a:ext cx="9132518" cy="681474"/>
            </a:xfrm>
            <a:prstGeom prst="rect">
              <a:avLst/>
            </a:prstGeom>
            <a:noFill/>
          </p:spPr>
          <p:txBody>
            <a:bodyPr wrap="square" lIns="0" tIns="0" rIns="0" bIns="0">
              <a:noAutofit/>
            </a:bodyPr>
            <a:lstStyle/>
            <a:p>
              <a:pPr marL="0" marR="0" lvl="0" indent="0" algn="l" defTabSz="99536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FFD200"/>
                </a:buClr>
                <a:buSzPct val="75000"/>
                <a:buFontTx/>
                <a:buNone/>
                <a:tabLst/>
                <a:defRPr/>
              </a:pPr>
              <a:r>
                <a:rPr kumimoji="0" lang="en-IN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EYInterstate" pitchFamily="2" charset="0"/>
                  <a:ea typeface="+mn-ea"/>
                  <a:cs typeface="Arial" charset="0"/>
                </a:rPr>
                <a:t>Senior</a:t>
              </a:r>
              <a:r>
                <a:rPr lang="en-IN" sz="1100" dirty="0">
                  <a:solidFill>
                    <a:srgbClr val="FFFFFF"/>
                  </a:solidFill>
                  <a:latin typeface="EYInterstate" pitchFamily="2" charset="0"/>
                  <a:cs typeface="Arial" charset="0"/>
                </a:rPr>
                <a:t> </a:t>
              </a:r>
              <a:r>
                <a:rPr kumimoji="0" lang="en-IN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EYInterstate" pitchFamily="2" charset="0"/>
                  <a:ea typeface="+mn-ea"/>
                  <a:cs typeface="Arial" charset="0"/>
                </a:rPr>
                <a:t>Software Engineer</a:t>
              </a:r>
            </a:p>
            <a:p>
              <a:r>
                <a:rPr kumimoji="0" lang="en-GB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FFE600"/>
                  </a:solidFill>
                  <a:effectLst/>
                  <a:uLnTx/>
                  <a:uFillTx/>
                  <a:latin typeface="EYInterstate" pitchFamily="2" charset="0"/>
                  <a:ea typeface="+mn-ea"/>
                  <a:cs typeface="Arial" charset="0"/>
                </a:rPr>
                <a:t>Mobile : </a:t>
              </a:r>
              <a:r>
                <a:rPr kumimoji="0" lang="en-GB" sz="9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EYInterstate" pitchFamily="2" charset="0"/>
                  <a:ea typeface="+mn-ea"/>
                  <a:cs typeface="Arial" charset="0"/>
                </a:rPr>
                <a:t>+91 9836962341</a:t>
              </a:r>
              <a:endParaRPr kumimoji="0" lang="en-US" sz="9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EYInterstate" pitchFamily="2" charset="0"/>
                <a:ea typeface="+mn-ea"/>
                <a:cs typeface="Arial" charset="0"/>
              </a:endParaRPr>
            </a:p>
            <a:p>
              <a:r>
                <a:rPr kumimoji="0" lang="en-GB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FFE600"/>
                  </a:solidFill>
                  <a:effectLst/>
                  <a:uLnTx/>
                  <a:uFillTx/>
                  <a:latin typeface="EYInterstate" pitchFamily="2" charset="0"/>
                  <a:ea typeface="+mn-ea"/>
                  <a:cs typeface="Arial" charset="0"/>
                </a:rPr>
                <a:t>Email : </a:t>
              </a:r>
              <a:r>
                <a:rPr kumimoji="0" lang="en-US" sz="900" i="0" u="none" strike="noStrike" kern="1200" cap="none" spc="0" normalizeH="0" baseline="0" noProof="0" dirty="0">
                  <a:ln>
                    <a:noFill/>
                  </a:ln>
                  <a:solidFill>
                    <a:srgbClr val="FFE600"/>
                  </a:solidFill>
                  <a:effectLst/>
                  <a:uLnTx/>
                  <a:uFillTx/>
                  <a:latin typeface="EYInterstate" pitchFamily="2" charset="0"/>
                  <a:ea typeface="+mn-ea"/>
                  <a:cs typeface="Arial" charset="0"/>
                </a:rPr>
                <a:t>prithwishm969@gmail.com</a:t>
              </a:r>
              <a:endPara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" pitchFamily="2" charset="0"/>
                <a:ea typeface="+mn-ea"/>
                <a:cs typeface="Arial" charset="0"/>
              </a:endParaRPr>
            </a:p>
          </p:txBody>
        </p:sp>
      </p:grpSp>
      <p:sp>
        <p:nvSpPr>
          <p:cNvPr id="78" name="Text Placeholder 23">
            <a:extLst>
              <a:ext uri="{FF2B5EF4-FFF2-40B4-BE49-F238E27FC236}">
                <a16:creationId xmlns:a16="http://schemas.microsoft.com/office/drawing/2014/main" id="{23F479DF-BDCF-4797-9CEF-426B08262C08}"/>
              </a:ext>
            </a:extLst>
          </p:cNvPr>
          <p:cNvSpPr txBox="1">
            <a:spLocks/>
          </p:cNvSpPr>
          <p:nvPr/>
        </p:nvSpPr>
        <p:spPr>
          <a:xfrm>
            <a:off x="89908" y="1530380"/>
            <a:ext cx="3653570" cy="2209049"/>
          </a:xfrm>
        </p:spPr>
        <p:txBody>
          <a:bodyPr/>
          <a:lstStyle>
            <a:lvl1pPr marL="0" indent="0" algn="l" defTabSz="913943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None/>
              <a:defRPr sz="11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1pPr>
            <a:lvl2pPr marL="220663" indent="-220663" algn="l" defTabSz="913943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tabLst/>
              <a:defRPr sz="11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2pPr>
            <a:lvl3pPr marL="400050" indent="-171450" algn="l" defTabSz="913943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EYInterstate Light" panose="02000506000000020004" pitchFamily="2" charset="0"/>
              <a:buChar char="−"/>
              <a:defRPr sz="11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3pPr>
            <a:lvl4pPr marL="625475" indent="-168275" algn="l" defTabSz="913943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1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4pPr>
            <a:lvl5pPr marL="914400" indent="-288925" algn="l" defTabSz="913943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1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5pPr>
            <a:lvl6pPr marL="2513343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314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286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4257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1" indent="0" algn="just" defTabSz="913943" rtl="0" eaLnBrk="1" fontAlgn="auto" latinLnBrk="0" hangingPunct="1">
              <a:spcBef>
                <a:spcPts val="600"/>
              </a:spcBef>
              <a:spcAft>
                <a:spcPts val="0"/>
              </a:spcAft>
              <a:buClr>
                <a:srgbClr val="FFE600"/>
              </a:buClr>
              <a:buSzPct val="70000"/>
              <a:buFont typeface="Arial" pitchFamily="34" charset="0"/>
              <a:buNone/>
              <a:tabLst/>
              <a:defRPr/>
            </a:pPr>
            <a:r>
              <a:rPr kumimoji="0" lang="en-GB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YInterstate" panose="02000503020000020004" pitchFamily="2" charset="0"/>
                <a:ea typeface="+mn-ea"/>
                <a:cs typeface="Arial" pitchFamily="34" charset="0"/>
              </a:rPr>
              <a:t>Background</a:t>
            </a:r>
          </a:p>
          <a:p>
            <a:pPr marL="0" marR="0" lvl="1" indent="0" algn="just" defTabSz="913943" rtl="0" eaLnBrk="1" fontAlgn="auto" latinLnBrk="0" hangingPunct="1">
              <a:spcBef>
                <a:spcPts val="600"/>
              </a:spcBef>
              <a:spcAft>
                <a:spcPts val="0"/>
              </a:spcAft>
              <a:buClr>
                <a:srgbClr val="FFE600"/>
              </a:buClr>
              <a:buSzPct val="70000"/>
              <a:buFont typeface="Arial" pitchFamily="34" charset="0"/>
              <a:buNone/>
              <a:tabLst/>
              <a:defRPr/>
            </a:pPr>
            <a:r>
              <a:rPr lang="en-IN" sz="1050" dirty="0"/>
              <a:t>A highly skilled software engineer specializing in AI/ML, advanced DSA, Generative AI and dynamic application development. Proficient in building scalable, intelligent systems using frameworks like TensorFlow, </a:t>
            </a:r>
            <a:r>
              <a:rPr lang="en-IN" sz="1050" dirty="0" err="1"/>
              <a:t>PyTorch</a:t>
            </a:r>
            <a:r>
              <a:rPr lang="en-IN" sz="1050" dirty="0"/>
              <a:t> and </a:t>
            </a:r>
            <a:r>
              <a:rPr lang="en-IN" sz="1050" dirty="0" err="1"/>
              <a:t>LangChain</a:t>
            </a:r>
            <a:r>
              <a:rPr lang="en-IN" sz="1050" dirty="0"/>
              <a:t>. Expertise in DevOps, AWS, Azure cloud ensures secure, efficient infrastructures with seamless deployments. A Python automation enthusiast, streamlining workflows and driving productivity. An innovative team player, passionate about leveraging emerging technologies to deliver impactful, AI-driven solutions.</a:t>
            </a:r>
            <a:endParaRPr kumimoji="0" lang="en-GB" sz="105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EYInterstate" panose="02000503020000020004" pitchFamily="2" charset="0"/>
              <a:ea typeface="+mn-ea"/>
              <a:cs typeface="Arial" pitchFamily="34" charset="0"/>
            </a:endParaRPr>
          </a:p>
        </p:txBody>
      </p:sp>
      <p:sp>
        <p:nvSpPr>
          <p:cNvPr id="82" name="Text Placeholder 23">
            <a:extLst>
              <a:ext uri="{FF2B5EF4-FFF2-40B4-BE49-F238E27FC236}">
                <a16:creationId xmlns:a16="http://schemas.microsoft.com/office/drawing/2014/main" id="{DCC310C3-7A69-422B-A426-FA6891C03D19}"/>
              </a:ext>
            </a:extLst>
          </p:cNvPr>
          <p:cNvSpPr txBox="1">
            <a:spLocks/>
          </p:cNvSpPr>
          <p:nvPr/>
        </p:nvSpPr>
        <p:spPr>
          <a:xfrm>
            <a:off x="3837147" y="1619666"/>
            <a:ext cx="8354853" cy="5150767"/>
          </a:xfrm>
        </p:spPr>
        <p:txBody>
          <a:bodyPr/>
          <a:lstStyle>
            <a:lvl1pPr marL="0" indent="0" algn="l" defTabSz="913943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None/>
              <a:defRPr sz="11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1pPr>
            <a:lvl2pPr marL="220663" indent="-220663" algn="l" defTabSz="913943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tabLst/>
              <a:defRPr sz="11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2pPr>
            <a:lvl3pPr marL="400050" indent="-171450" algn="l" defTabSz="913943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EYInterstate Light" panose="02000506000000020004" pitchFamily="2" charset="0"/>
              <a:buChar char="−"/>
              <a:defRPr sz="11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3pPr>
            <a:lvl4pPr marL="625475" indent="-168275" algn="l" defTabSz="913943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1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4pPr>
            <a:lvl5pPr marL="914400" indent="-288925" algn="l" defTabSz="913943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1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5pPr>
            <a:lvl6pPr marL="2513343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314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286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4257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1" indent="0" algn="just" defTabSz="913943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FFE600"/>
              </a:buClr>
              <a:buSzPct val="70000"/>
              <a:buFont typeface="Arial" pitchFamily="34" charset="0"/>
              <a:buNone/>
              <a:tabLst/>
              <a:defRPr/>
            </a:pPr>
            <a:r>
              <a:rPr kumimoji="0" lang="en-GB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YInterstate" panose="02000503020000020004" pitchFamily="2" charset="0"/>
                <a:ea typeface="+mn-ea"/>
                <a:cs typeface="Arial" pitchFamily="34" charset="0"/>
              </a:rPr>
              <a:t>Professional experience</a:t>
            </a:r>
          </a:p>
          <a:p>
            <a:pPr marR="0" lvl="1" algn="just" defTabSz="913943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FFE600"/>
              </a:buClr>
              <a:buSzPct val="70000"/>
              <a:buFont typeface="Wingdings" panose="05000000000000000000" pitchFamily="2" charset="2"/>
              <a:buChar char="q"/>
              <a:tabLst/>
              <a:defRPr/>
            </a:pPr>
            <a:r>
              <a:rPr lang="en-GB" sz="1000" b="1" dirty="0">
                <a:solidFill>
                  <a:srgbClr val="000000"/>
                </a:solidFill>
                <a:latin typeface="EYInterstate" panose="02000503020000020004" pitchFamily="2" charset="0"/>
                <a:cs typeface="Arial" pitchFamily="34" charset="0"/>
              </a:rPr>
              <a:t>Ernst &amp; Young (Jan 2022 – Till Now)</a:t>
            </a:r>
          </a:p>
          <a:p>
            <a:pPr marL="576262" lvl="3" indent="-171450" algn="just">
              <a:buClr>
                <a:srgbClr val="FFE600"/>
              </a:buClr>
              <a:buFont typeface="Wingdings" panose="05000000000000000000" pitchFamily="2" charset="2"/>
              <a:buChar char="ü"/>
              <a:defRPr/>
            </a:pPr>
            <a:r>
              <a:rPr lang="en-IN" sz="1000" dirty="0"/>
              <a:t>Developed an AI-driven system for survey data processing, analytics, and real-time predictions using AWS Lambda, S3, Glue,</a:t>
            </a:r>
            <a:br>
              <a:rPr lang="en-IN" sz="1000" dirty="0"/>
            </a:br>
            <a:r>
              <a:rPr lang="en-IN" sz="1000" dirty="0" err="1"/>
              <a:t>Sagemaker</a:t>
            </a:r>
            <a:r>
              <a:rPr lang="en-IN" sz="1000" dirty="0"/>
              <a:t>, Bedrock.</a:t>
            </a:r>
          </a:p>
          <a:p>
            <a:pPr marL="576262" lvl="3" indent="-171450" algn="just">
              <a:buClr>
                <a:srgbClr val="FFE600"/>
              </a:buClr>
              <a:buFont typeface="Wingdings" panose="05000000000000000000" pitchFamily="2" charset="2"/>
              <a:buChar char="ü"/>
              <a:defRPr/>
            </a:pPr>
            <a:r>
              <a:rPr lang="en-IN" sz="1000" dirty="0"/>
              <a:t>Designed an </a:t>
            </a:r>
            <a:r>
              <a:rPr lang="en-IN" sz="1000" dirty="0" err="1"/>
              <a:t>Autogen</a:t>
            </a:r>
            <a:r>
              <a:rPr lang="en-IN" sz="1000" dirty="0"/>
              <a:t> framework with multi-agent orchestration, NLP, </a:t>
            </a:r>
            <a:r>
              <a:rPr lang="en-IN" sz="1000" dirty="0" err="1"/>
              <a:t>ChromaDB</a:t>
            </a:r>
            <a:r>
              <a:rPr lang="en-IN" sz="1000" dirty="0"/>
              <a:t>, and seamless API and database integration.</a:t>
            </a:r>
            <a:endParaRPr lang="en-IN" sz="1000" dirty="0">
              <a:solidFill>
                <a:srgbClr val="000000"/>
              </a:solidFill>
              <a:latin typeface="EYInterstate" panose="02000503020000020004" pitchFamily="2" charset="0"/>
              <a:cs typeface="Arial" pitchFamily="34" charset="0"/>
            </a:endParaRPr>
          </a:p>
          <a:p>
            <a:pPr marL="576262" lvl="3" indent="-171450" algn="just">
              <a:buClr>
                <a:srgbClr val="FFE600"/>
              </a:buClr>
              <a:buFont typeface="Wingdings" panose="05000000000000000000" pitchFamily="2" charset="2"/>
              <a:buChar char="ü"/>
              <a:defRPr/>
            </a:pPr>
            <a:r>
              <a:rPr lang="en-IN" sz="1000" dirty="0"/>
              <a:t>Developed a </a:t>
            </a:r>
            <a:r>
              <a:rPr lang="en-IN" sz="1000" dirty="0" err="1"/>
              <a:t>GenAI</a:t>
            </a:r>
            <a:r>
              <a:rPr lang="en-IN" sz="1000" dirty="0"/>
              <a:t> agent with </a:t>
            </a:r>
            <a:r>
              <a:rPr lang="en-IN" sz="1000" dirty="0" err="1"/>
              <a:t>Autogen</a:t>
            </a:r>
            <a:r>
              <a:rPr lang="en-IN" sz="1000" dirty="0"/>
              <a:t> Framework for post-migration anomaly detection, integrating Azure monitoring tools, </a:t>
            </a:r>
          </a:p>
          <a:p>
            <a:pPr marL="576262" lvl="3" indent="-171450" algn="just">
              <a:buClr>
                <a:srgbClr val="FFE600"/>
              </a:buClr>
              <a:buFont typeface="Wingdings" panose="05000000000000000000" pitchFamily="2" charset="2"/>
              <a:buChar char="ü"/>
              <a:defRPr/>
            </a:pPr>
            <a:r>
              <a:rPr lang="en-IN" sz="1000" dirty="0"/>
              <a:t>Python, KQL, and a Flask-based PostgreSQL system.</a:t>
            </a:r>
          </a:p>
          <a:p>
            <a:pPr marL="576262" lvl="3" indent="-171450" algn="just">
              <a:buClr>
                <a:srgbClr val="FFE600"/>
              </a:buClr>
              <a:buFont typeface="Wingdings" panose="05000000000000000000" pitchFamily="2" charset="2"/>
              <a:buChar char="ü"/>
              <a:defRPr/>
            </a:pPr>
            <a:r>
              <a:rPr lang="en-IN" sz="1000" dirty="0"/>
              <a:t>Experienced in AI-driven AWS monitoring, using CloudWatch, X-Ray, and CloudTrail with ML algorithms for anomaly detection,   </a:t>
            </a:r>
          </a:p>
          <a:p>
            <a:pPr marL="404812" lvl="3" indent="0" algn="just">
              <a:buClr>
                <a:srgbClr val="FFE600"/>
              </a:buClr>
              <a:buNone/>
              <a:defRPr/>
            </a:pPr>
            <a:r>
              <a:rPr lang="en-IN" sz="1000" dirty="0"/>
              <a:t>     trend analysis, and optimized resource management.</a:t>
            </a:r>
          </a:p>
          <a:p>
            <a:pPr marL="576262" lvl="3" indent="-171450" algn="just">
              <a:buClr>
                <a:srgbClr val="FFE600"/>
              </a:buClr>
              <a:buFont typeface="Wingdings" panose="05000000000000000000" pitchFamily="2" charset="2"/>
              <a:buChar char="ü"/>
              <a:defRPr/>
            </a:pPr>
            <a:r>
              <a:rPr lang="en-IN" sz="1000" dirty="0"/>
              <a:t>Built an AI chatbot with </a:t>
            </a:r>
            <a:r>
              <a:rPr lang="en-IN" sz="1000" dirty="0" err="1"/>
              <a:t>LangChain</a:t>
            </a:r>
            <a:r>
              <a:rPr lang="en-IN" sz="1000" dirty="0"/>
              <a:t> for enterprise support, integrating LLMs and vector databases for smarter, context-aware</a:t>
            </a:r>
          </a:p>
          <a:p>
            <a:pPr marL="404812" lvl="3" indent="0" algn="just">
              <a:buClr>
                <a:srgbClr val="FFE600"/>
              </a:buClr>
              <a:buNone/>
              <a:defRPr/>
            </a:pPr>
            <a:r>
              <a:rPr lang="en-IN" sz="1000" dirty="0"/>
              <a:t>     responses.</a:t>
            </a:r>
          </a:p>
          <a:p>
            <a:pPr marL="576262" lvl="3" indent="-171450" algn="just">
              <a:buClr>
                <a:srgbClr val="FFE600"/>
              </a:buClr>
              <a:buFont typeface="Wingdings" panose="05000000000000000000" pitchFamily="2" charset="2"/>
              <a:buChar char="ü"/>
              <a:defRPr/>
            </a:pPr>
            <a:r>
              <a:rPr lang="en-IN" sz="1000" dirty="0"/>
              <a:t>Deployed a scalable Django app on AWS using Docker, Helm, EKS, and ECR with CI/CD using GitHub Actions.</a:t>
            </a:r>
          </a:p>
          <a:p>
            <a:pPr marL="576262" lvl="3" indent="-171450" algn="just">
              <a:buClr>
                <a:srgbClr val="FFE600"/>
              </a:buClr>
              <a:buFont typeface="Wingdings" panose="05000000000000000000" pitchFamily="2" charset="2"/>
              <a:buChar char="ü"/>
              <a:defRPr/>
            </a:pPr>
            <a:r>
              <a:rPr lang="en-IN" sz="1000" dirty="0"/>
              <a:t>Built an AI-driven AWS Lambda alerting system using Isolation Forest and K-Means for anomaly detection, with real-time alerts to</a:t>
            </a:r>
            <a:br>
              <a:rPr lang="en-IN" sz="1000" dirty="0"/>
            </a:br>
            <a:r>
              <a:rPr lang="en-IN" sz="1000" dirty="0"/>
              <a:t>Microsoft Teams and Email.</a:t>
            </a:r>
          </a:p>
          <a:p>
            <a:pPr marL="576262" lvl="3" indent="-171450" algn="just">
              <a:buClr>
                <a:srgbClr val="FFE600"/>
              </a:buClr>
              <a:buFont typeface="Wingdings" panose="05000000000000000000" pitchFamily="2" charset="2"/>
              <a:buChar char="ü"/>
              <a:defRPr/>
            </a:pPr>
            <a:r>
              <a:rPr lang="en-IN" sz="1000" dirty="0"/>
              <a:t>Developed a deep learning model using </a:t>
            </a:r>
            <a:r>
              <a:rPr lang="en-IN" sz="1000" dirty="0" err="1"/>
              <a:t>PyTorch</a:t>
            </a:r>
            <a:r>
              <a:rPr lang="en-IN" sz="1000" dirty="0"/>
              <a:t> for image classification, leveraging transfer learning and scikit-learn for data</a:t>
            </a:r>
          </a:p>
          <a:p>
            <a:pPr marL="404812" lvl="3" indent="0" algn="just">
              <a:buClr>
                <a:srgbClr val="FFE600"/>
              </a:buClr>
              <a:buNone/>
              <a:defRPr/>
            </a:pPr>
            <a:r>
              <a:rPr lang="en-IN" sz="1000" dirty="0"/>
              <a:t>     preprocessing and evaluation.</a:t>
            </a:r>
          </a:p>
          <a:p>
            <a:pPr marL="179387" lvl="2" indent="0" algn="just">
              <a:buClr>
                <a:srgbClr val="FFE600"/>
              </a:buClr>
              <a:buNone/>
              <a:defRPr/>
            </a:pPr>
            <a:endParaRPr lang="en-IN" sz="1000" b="1" dirty="0"/>
          </a:p>
          <a:p>
            <a:pPr marR="0" lvl="1" algn="just" defTabSz="913943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FFE600"/>
              </a:buClr>
              <a:buSzPct val="70000"/>
              <a:buFont typeface="Wingdings" panose="05000000000000000000" pitchFamily="2" charset="2"/>
              <a:buChar char="q"/>
              <a:tabLst/>
              <a:defRPr/>
            </a:pPr>
            <a:r>
              <a:rPr lang="en-GB" sz="1000" b="1" dirty="0" err="1">
                <a:solidFill>
                  <a:srgbClr val="000000"/>
                </a:solidFill>
                <a:latin typeface="EYInterstate" panose="02000503020000020004" pitchFamily="2" charset="0"/>
                <a:cs typeface="Arial" pitchFamily="34" charset="0"/>
              </a:rPr>
              <a:t>DataPeace</a:t>
            </a:r>
            <a:r>
              <a:rPr lang="en-GB" sz="1000" b="1" dirty="0">
                <a:solidFill>
                  <a:srgbClr val="000000"/>
                </a:solidFill>
                <a:latin typeface="EYInterstate" panose="02000503020000020004" pitchFamily="2" charset="0"/>
                <a:cs typeface="Arial" pitchFamily="34" charset="0"/>
              </a:rPr>
              <a:t> AI Technology Pvt Ltd (Feb 2021 – Dec 2021)</a:t>
            </a:r>
          </a:p>
          <a:p>
            <a:pPr marL="179387" lvl="2" indent="0" algn="just">
              <a:buClr>
                <a:srgbClr val="FFE600"/>
              </a:buClr>
              <a:buNone/>
              <a:defRPr/>
            </a:pPr>
            <a:r>
              <a:rPr lang="en-IN" sz="1000" dirty="0"/>
              <a:t>           Extracted Aadhaar card numbers from images using OCR and deep learning for precise text recognition and parsing.</a:t>
            </a:r>
          </a:p>
          <a:p>
            <a:pPr marL="179387" lvl="2" indent="0" algn="just">
              <a:buClr>
                <a:srgbClr val="FFE600"/>
              </a:buClr>
              <a:buNone/>
              <a:defRPr/>
            </a:pPr>
            <a:r>
              <a:rPr lang="en-IN" sz="1000" dirty="0"/>
              <a:t>           Developed a flight availability prediction API using deep learning, leveraging datasets and weather conditions for accurate </a:t>
            </a:r>
          </a:p>
          <a:p>
            <a:pPr marL="179387" lvl="2" indent="0" algn="just">
              <a:buClr>
                <a:srgbClr val="FFE600"/>
              </a:buClr>
              <a:buNone/>
              <a:defRPr/>
            </a:pPr>
            <a:r>
              <a:rPr lang="en-IN" sz="1000" dirty="0"/>
              <a:t>           forecasts.</a:t>
            </a:r>
          </a:p>
          <a:p>
            <a:pPr marL="179387" lvl="2" indent="0" algn="just">
              <a:buClr>
                <a:srgbClr val="FFE600"/>
              </a:buClr>
              <a:buNone/>
              <a:defRPr/>
            </a:pPr>
            <a:r>
              <a:rPr lang="en-IN" sz="1000" dirty="0"/>
              <a:t>           Built an NLP chatbot using machine learning, leveraging text preprocessing, sentiment analysis, and LSTM for sentiment-driven</a:t>
            </a:r>
          </a:p>
          <a:p>
            <a:pPr marL="179387" lvl="2" indent="0" algn="just">
              <a:buClr>
                <a:srgbClr val="FFE600"/>
              </a:buClr>
              <a:buNone/>
              <a:defRPr/>
            </a:pPr>
            <a:r>
              <a:rPr lang="en-IN" sz="1000" dirty="0"/>
              <a:t>           responses.</a:t>
            </a:r>
          </a:p>
          <a:p>
            <a:pPr marL="0" lvl="1" indent="0" algn="just">
              <a:buClr>
                <a:srgbClr val="FFE600"/>
              </a:buClr>
              <a:buNone/>
              <a:defRPr/>
            </a:pPr>
            <a:endParaRPr lang="en-IN" sz="1000" b="1" dirty="0"/>
          </a:p>
          <a:p>
            <a:pPr marL="179387" lvl="2" indent="0" algn="just">
              <a:buClr>
                <a:srgbClr val="FFE600"/>
              </a:buClr>
              <a:buNone/>
              <a:defRPr/>
            </a:pPr>
            <a:r>
              <a:rPr lang="en-IN" sz="1000" b="1" dirty="0"/>
              <a:t>  </a:t>
            </a:r>
          </a:p>
        </p:txBody>
      </p:sp>
      <p:sp>
        <p:nvSpPr>
          <p:cNvPr id="83" name="Text Placeholder 23">
            <a:extLst>
              <a:ext uri="{FF2B5EF4-FFF2-40B4-BE49-F238E27FC236}">
                <a16:creationId xmlns:a16="http://schemas.microsoft.com/office/drawing/2014/main" id="{6B6A2D15-78BA-46E5-A203-42A2D9B08810}"/>
              </a:ext>
            </a:extLst>
          </p:cNvPr>
          <p:cNvSpPr txBox="1">
            <a:spLocks/>
          </p:cNvSpPr>
          <p:nvPr/>
        </p:nvSpPr>
        <p:spPr>
          <a:xfrm>
            <a:off x="4371181" y="1644242"/>
            <a:ext cx="3497692" cy="4772656"/>
          </a:xfrm>
        </p:spPr>
        <p:txBody>
          <a:bodyPr/>
          <a:lstStyle>
            <a:lvl1pPr marL="0" indent="0" algn="l" defTabSz="913943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None/>
              <a:defRPr sz="11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1pPr>
            <a:lvl2pPr marL="220663" indent="-220663" algn="l" defTabSz="913943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tabLst/>
              <a:defRPr sz="11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2pPr>
            <a:lvl3pPr marL="400050" indent="-171450" algn="l" defTabSz="913943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EYInterstate Light" panose="02000506000000020004" pitchFamily="2" charset="0"/>
              <a:buChar char="−"/>
              <a:defRPr sz="11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3pPr>
            <a:lvl4pPr marL="625475" indent="-168275" algn="l" defTabSz="913943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1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4pPr>
            <a:lvl5pPr marL="914400" indent="-288925" algn="l" defTabSz="913943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1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5pPr>
            <a:lvl6pPr marL="2513343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314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286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4257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9388" marR="0" lvl="3" indent="-179388" algn="l" defTabSz="913943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FFE600"/>
              </a:buClr>
              <a:buSzPct val="70000"/>
              <a:buFont typeface="Arial" pitchFamily="34" charset="0"/>
              <a:buChar char="►"/>
              <a:tabLst/>
              <a:defRPr/>
            </a:pPr>
            <a:endParaRPr kumimoji="0" lang="en-IN" sz="88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EYInterstate Light (Body)"/>
              <a:ea typeface="+mn-ea"/>
              <a:cs typeface="Arial" pitchFamily="34" charset="0"/>
            </a:endParaRPr>
          </a:p>
        </p:txBody>
      </p: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D75F4155-5818-4007-9205-F85DC2DB26E3}"/>
              </a:ext>
            </a:extLst>
          </p:cNvPr>
          <p:cNvCxnSpPr>
            <a:cxnSpLocks/>
          </p:cNvCxnSpPr>
          <p:nvPr/>
        </p:nvCxnSpPr>
        <p:spPr>
          <a:xfrm>
            <a:off x="89908" y="3604407"/>
            <a:ext cx="3553032" cy="0"/>
          </a:xfrm>
          <a:prstGeom prst="line">
            <a:avLst/>
          </a:prstGeom>
          <a:ln w="9525">
            <a:solidFill>
              <a:schemeClr val="bg1">
                <a:lumMod val="20000"/>
                <a:lumOff val="80000"/>
              </a:schemeClr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Text Placeholder 23">
            <a:extLst>
              <a:ext uri="{FF2B5EF4-FFF2-40B4-BE49-F238E27FC236}">
                <a16:creationId xmlns:a16="http://schemas.microsoft.com/office/drawing/2014/main" id="{1D8F4370-9C4D-4D43-BC48-CADB330C05C8}"/>
              </a:ext>
            </a:extLst>
          </p:cNvPr>
          <p:cNvSpPr txBox="1">
            <a:spLocks/>
          </p:cNvSpPr>
          <p:nvPr/>
        </p:nvSpPr>
        <p:spPr>
          <a:xfrm>
            <a:off x="126641" y="4211497"/>
            <a:ext cx="3684459" cy="2315902"/>
          </a:xfrm>
        </p:spPr>
        <p:txBody>
          <a:bodyPr/>
          <a:lstStyle>
            <a:lvl1pPr marL="0" indent="0" algn="l" defTabSz="913943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None/>
              <a:defRPr sz="11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1pPr>
            <a:lvl2pPr marL="220663" indent="-220663" algn="l" defTabSz="913943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tabLst/>
              <a:defRPr sz="11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2pPr>
            <a:lvl3pPr marL="400050" indent="-171450" algn="l" defTabSz="913943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EYInterstate Light" panose="02000506000000020004" pitchFamily="2" charset="0"/>
              <a:buChar char="−"/>
              <a:defRPr sz="11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3pPr>
            <a:lvl4pPr marL="625475" indent="-168275" algn="l" defTabSz="913943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1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4pPr>
            <a:lvl5pPr marL="914400" indent="-288925" algn="l" defTabSz="913943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1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5pPr>
            <a:lvl6pPr marL="2513343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314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286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4257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1" indent="0" defTabSz="913943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FFE600"/>
              </a:buClr>
              <a:buSzPct val="70000"/>
              <a:buFont typeface="Arial" pitchFamily="34" charset="0"/>
              <a:buNone/>
              <a:tabLst/>
              <a:defRPr/>
            </a:pPr>
            <a:r>
              <a:rPr lang="en-IN" sz="1000" b="1" dirty="0">
                <a:solidFill>
                  <a:srgbClr val="000000"/>
                </a:solidFill>
                <a:latin typeface="EYInterstate" panose="02000503020000020004" pitchFamily="2" charset="0"/>
                <a:cs typeface="Arial" pitchFamily="34" charset="0"/>
              </a:rPr>
              <a:t>Skills</a:t>
            </a:r>
          </a:p>
          <a:p>
            <a:pPr marL="141299" lvl="1" indent="-141299" defTabSz="791924">
              <a:spcBef>
                <a:spcPts val="600"/>
              </a:spcBef>
              <a:buClr>
                <a:srgbClr val="FFE600"/>
              </a:buClr>
              <a:buSzPct val="100000"/>
              <a:buFont typeface="EYInterstate" pitchFamily="2" charset="0"/>
              <a:buChar char="•"/>
              <a:tabLst>
                <a:tab pos="2566083" algn="l"/>
                <a:tab pos="3707826" algn="r"/>
              </a:tabLst>
              <a:defRPr/>
            </a:pPr>
            <a:r>
              <a:rPr lang="en-IN" sz="1050" b="1" dirty="0">
                <a:solidFill>
                  <a:srgbClr val="000000"/>
                </a:solidFill>
                <a:latin typeface="EYInterstate Light (Body)"/>
                <a:cs typeface="Arial" pitchFamily="34" charset="0"/>
              </a:rPr>
              <a:t>Languages</a:t>
            </a:r>
            <a:r>
              <a:rPr lang="en-IN" sz="1050" dirty="0">
                <a:solidFill>
                  <a:srgbClr val="000000"/>
                </a:solidFill>
                <a:latin typeface="EYInterstate Light (Body)"/>
                <a:cs typeface="Arial" pitchFamily="34" charset="0"/>
              </a:rPr>
              <a:t>: Java, Spring Boot, Micro Services, Python,  Django, Flask., </a:t>
            </a:r>
            <a:r>
              <a:rPr lang="en-IN" sz="1050" dirty="0" err="1">
                <a:solidFill>
                  <a:srgbClr val="000000"/>
                </a:solidFill>
                <a:latin typeface="EYInterstate Light (Body)"/>
                <a:cs typeface="Arial" pitchFamily="34" charset="0"/>
              </a:rPr>
              <a:t>FastAPI</a:t>
            </a:r>
            <a:r>
              <a:rPr lang="en-IN" sz="1050" dirty="0">
                <a:solidFill>
                  <a:srgbClr val="000000"/>
                </a:solidFill>
                <a:latin typeface="EYInterstate Light (Body)"/>
                <a:cs typeface="Arial" pitchFamily="34" charset="0"/>
              </a:rPr>
              <a:t>.</a:t>
            </a:r>
            <a:endParaRPr lang="en-IN" sz="1050" dirty="0">
              <a:solidFill>
                <a:srgbClr val="000000"/>
              </a:solidFill>
              <a:latin typeface="EYInterstate Light (Body)"/>
              <a:cs typeface="Arial" pitchFamily="34" charset="0"/>
              <a:sym typeface="Arial Unicode MS" pitchFamily="34" charset="-128"/>
            </a:endParaRPr>
          </a:p>
          <a:p>
            <a:pPr marL="141299" lvl="1" indent="-141299" defTabSz="791924">
              <a:spcBef>
                <a:spcPts val="600"/>
              </a:spcBef>
              <a:buClr>
                <a:srgbClr val="FFE600"/>
              </a:buClr>
              <a:buSzPct val="100000"/>
              <a:buFont typeface="EYInterstate" pitchFamily="2" charset="0"/>
              <a:buChar char="•"/>
              <a:tabLst>
                <a:tab pos="2566083" algn="l"/>
                <a:tab pos="3707826" algn="r"/>
              </a:tabLst>
              <a:defRPr/>
            </a:pPr>
            <a:r>
              <a:rPr lang="en-IN" sz="1050" b="1" dirty="0">
                <a:solidFill>
                  <a:srgbClr val="000000"/>
                </a:solidFill>
                <a:latin typeface="EYInterstate Light (Body)"/>
                <a:cs typeface="Arial" pitchFamily="34" charset="0"/>
              </a:rPr>
              <a:t>RDBMS/DB </a:t>
            </a:r>
            <a:r>
              <a:rPr lang="en-IN" sz="1050" dirty="0">
                <a:solidFill>
                  <a:srgbClr val="000000"/>
                </a:solidFill>
                <a:latin typeface="EYInterstate Light (Body)"/>
                <a:cs typeface="Arial" pitchFamily="34" charset="0"/>
              </a:rPr>
              <a:t>: MySQL, Oracle</a:t>
            </a:r>
          </a:p>
          <a:p>
            <a:pPr marL="141299" lvl="1" indent="-141299" defTabSz="791924">
              <a:spcBef>
                <a:spcPts val="600"/>
              </a:spcBef>
              <a:buClr>
                <a:srgbClr val="FFE600"/>
              </a:buClr>
              <a:buSzPct val="100000"/>
              <a:buFont typeface="EYInterstate" pitchFamily="2" charset="0"/>
              <a:buChar char="•"/>
              <a:tabLst>
                <a:tab pos="2566083" algn="l"/>
                <a:tab pos="3707826" algn="r"/>
              </a:tabLst>
              <a:defRPr/>
            </a:pPr>
            <a:r>
              <a:rPr lang="en-IN" sz="1050" b="1" dirty="0">
                <a:solidFill>
                  <a:srgbClr val="000000"/>
                </a:solidFill>
                <a:latin typeface="EYInterstate Light (Body)"/>
                <a:cs typeface="Arial" pitchFamily="34" charset="0"/>
              </a:rPr>
              <a:t>CLOUD</a:t>
            </a:r>
            <a:r>
              <a:rPr lang="en-IN" sz="1050" dirty="0">
                <a:solidFill>
                  <a:srgbClr val="000000"/>
                </a:solidFill>
                <a:latin typeface="EYInterstate Light (Body)"/>
                <a:cs typeface="Arial" pitchFamily="34" charset="0"/>
              </a:rPr>
              <a:t>: AWS &amp; Azure</a:t>
            </a:r>
          </a:p>
          <a:p>
            <a:pPr marL="141299" lvl="1" indent="-141299" defTabSz="791924">
              <a:spcBef>
                <a:spcPts val="600"/>
              </a:spcBef>
              <a:buClr>
                <a:srgbClr val="FFE600"/>
              </a:buClr>
              <a:buSzPct val="100000"/>
              <a:buFont typeface="EYInterstate" pitchFamily="2" charset="0"/>
              <a:buChar char="•"/>
              <a:tabLst>
                <a:tab pos="2566083" algn="l"/>
                <a:tab pos="3707826" algn="r"/>
              </a:tabLst>
              <a:defRPr/>
            </a:pPr>
            <a:r>
              <a:rPr lang="en-IN" sz="1050" b="1" dirty="0">
                <a:solidFill>
                  <a:srgbClr val="000000"/>
                </a:solidFill>
                <a:latin typeface="EYInterstate Light (Body)"/>
                <a:cs typeface="Arial" pitchFamily="34" charset="0"/>
              </a:rPr>
              <a:t>AI/ML</a:t>
            </a:r>
            <a:r>
              <a:rPr lang="en-IN" sz="1050" dirty="0">
                <a:solidFill>
                  <a:srgbClr val="000000"/>
                </a:solidFill>
                <a:latin typeface="EYInterstate Light (Body)"/>
                <a:cs typeface="Arial" pitchFamily="34" charset="0"/>
              </a:rPr>
              <a:t>: NLP, </a:t>
            </a:r>
            <a:r>
              <a:rPr lang="en-IN" sz="1050" dirty="0" err="1">
                <a:solidFill>
                  <a:srgbClr val="000000"/>
                </a:solidFill>
                <a:latin typeface="EYInterstate Light (Body)"/>
                <a:cs typeface="Arial" pitchFamily="34" charset="0"/>
              </a:rPr>
              <a:t>DataScience</a:t>
            </a:r>
            <a:r>
              <a:rPr lang="en-IN" sz="1050" dirty="0">
                <a:solidFill>
                  <a:srgbClr val="000000"/>
                </a:solidFill>
                <a:latin typeface="EYInterstate Light (Body)"/>
                <a:cs typeface="Arial" pitchFamily="34" charset="0"/>
              </a:rPr>
              <a:t>. </a:t>
            </a:r>
            <a:r>
              <a:rPr lang="en-IN" sz="1050" dirty="0" err="1">
                <a:solidFill>
                  <a:srgbClr val="000000"/>
                </a:solidFill>
                <a:latin typeface="EYInterstate Light (Body)"/>
                <a:cs typeface="Arial" pitchFamily="34" charset="0"/>
              </a:rPr>
              <a:t>GenAI</a:t>
            </a:r>
            <a:r>
              <a:rPr lang="en-IN" sz="1050" dirty="0">
                <a:solidFill>
                  <a:srgbClr val="000000"/>
                </a:solidFill>
                <a:latin typeface="EYInterstate Light (Body)"/>
                <a:cs typeface="Arial" pitchFamily="34" charset="0"/>
              </a:rPr>
              <a:t>, Computer Vision</a:t>
            </a:r>
            <a:br>
              <a:rPr lang="en-IN" sz="1050" dirty="0">
                <a:solidFill>
                  <a:srgbClr val="000000"/>
                </a:solidFill>
                <a:latin typeface="EYInterstate Light (Body)"/>
                <a:cs typeface="Arial" pitchFamily="34" charset="0"/>
              </a:rPr>
            </a:br>
            <a:endParaRPr lang="en-IN" sz="1050" dirty="0">
              <a:solidFill>
                <a:srgbClr val="000000"/>
              </a:solidFill>
              <a:latin typeface="EYInterstate Light (Body)"/>
              <a:cs typeface="Arial" pitchFamily="34" charset="0"/>
            </a:endParaRPr>
          </a:p>
          <a:p>
            <a:pPr marL="141299" lvl="1" indent="-141299" defTabSz="791924">
              <a:spcBef>
                <a:spcPts val="0"/>
              </a:spcBef>
              <a:buClr>
                <a:srgbClr val="FFE600"/>
              </a:buClr>
              <a:buSzPct val="100000"/>
              <a:buFont typeface="EYInterstate" pitchFamily="2" charset="0"/>
              <a:buChar char="•"/>
              <a:tabLst>
                <a:tab pos="2566083" algn="l"/>
                <a:tab pos="3707826" algn="r"/>
              </a:tabLst>
              <a:defRPr/>
            </a:pPr>
            <a:r>
              <a:rPr lang="en-IN" sz="1050" b="1" dirty="0">
                <a:solidFill>
                  <a:srgbClr val="000000"/>
                </a:solidFill>
                <a:latin typeface="EYInterstate Light (Body)"/>
                <a:cs typeface="Arial" pitchFamily="34" charset="0"/>
              </a:rPr>
              <a:t>CI/CD </a:t>
            </a:r>
            <a:r>
              <a:rPr lang="en-IN" sz="1050" dirty="0">
                <a:solidFill>
                  <a:srgbClr val="000000"/>
                </a:solidFill>
                <a:latin typeface="EYInterstate Light (Body)"/>
                <a:cs typeface="Arial" pitchFamily="34" charset="0"/>
              </a:rPr>
              <a:t>: GitHub Actions, GitLab, Azure DevOps, Terraform</a:t>
            </a:r>
            <a:br>
              <a:rPr lang="en-IN" sz="1050" dirty="0">
                <a:solidFill>
                  <a:srgbClr val="000000"/>
                </a:solidFill>
                <a:latin typeface="EYInterstate Light (Body)"/>
                <a:cs typeface="Arial" pitchFamily="34" charset="0"/>
              </a:rPr>
            </a:br>
            <a:endParaRPr lang="en-IN" sz="1050" dirty="0">
              <a:solidFill>
                <a:srgbClr val="000000"/>
              </a:solidFill>
              <a:latin typeface="EYInterstate Light (Body)"/>
              <a:cs typeface="Arial" pitchFamily="34" charset="0"/>
            </a:endParaRPr>
          </a:p>
          <a:p>
            <a:pPr marL="141299" lvl="1" indent="-141299" defTabSz="791924">
              <a:spcBef>
                <a:spcPts val="0"/>
              </a:spcBef>
              <a:buClr>
                <a:srgbClr val="FFE600"/>
              </a:buClr>
              <a:buSzPct val="100000"/>
              <a:buFont typeface="EYInterstate" pitchFamily="2" charset="0"/>
              <a:buChar char="•"/>
              <a:tabLst>
                <a:tab pos="2566083" algn="l"/>
                <a:tab pos="3707826" algn="r"/>
              </a:tabLst>
              <a:defRPr/>
            </a:pPr>
            <a:r>
              <a:rPr lang="en-IN" sz="1050" b="1" dirty="0">
                <a:solidFill>
                  <a:srgbClr val="000000"/>
                </a:solidFill>
                <a:latin typeface="EYInterstate Light (Body)"/>
                <a:cs typeface="Arial" pitchFamily="34" charset="0"/>
              </a:rPr>
              <a:t>Containerization/Orchestration</a:t>
            </a:r>
            <a:r>
              <a:rPr lang="en-IN" sz="1050" dirty="0">
                <a:solidFill>
                  <a:srgbClr val="000000"/>
                </a:solidFill>
                <a:latin typeface="EYInterstate Light (Body)"/>
                <a:cs typeface="Arial" pitchFamily="34" charset="0"/>
              </a:rPr>
              <a:t>: Docker, Kubernetes</a:t>
            </a:r>
            <a:br>
              <a:rPr lang="en-IN" sz="1050" dirty="0">
                <a:solidFill>
                  <a:srgbClr val="000000"/>
                </a:solidFill>
                <a:latin typeface="EYInterstate Light (Body)"/>
                <a:cs typeface="Arial" pitchFamily="34" charset="0"/>
              </a:rPr>
            </a:br>
            <a:r>
              <a:rPr lang="en-IN" sz="1050" dirty="0">
                <a:solidFill>
                  <a:srgbClr val="000000"/>
                </a:solidFill>
                <a:latin typeface="EYInterstate Light (Body)"/>
                <a:cs typeface="Arial" pitchFamily="34" charset="0"/>
              </a:rPr>
              <a:t> </a:t>
            </a:r>
          </a:p>
          <a:p>
            <a:pPr marL="141299" lvl="1" indent="-141299" defTabSz="791924">
              <a:spcBef>
                <a:spcPts val="0"/>
              </a:spcBef>
              <a:buClr>
                <a:srgbClr val="FFE600"/>
              </a:buClr>
              <a:buSzPct val="100000"/>
              <a:buFont typeface="EYInterstate" pitchFamily="2" charset="0"/>
              <a:buChar char="•"/>
              <a:tabLst>
                <a:tab pos="2566083" algn="l"/>
                <a:tab pos="3707826" algn="r"/>
              </a:tabLst>
              <a:defRPr/>
            </a:pPr>
            <a:r>
              <a:rPr lang="en-IN" sz="1050" b="1" dirty="0">
                <a:solidFill>
                  <a:srgbClr val="000000"/>
                </a:solidFill>
                <a:latin typeface="EYInterstate Light (Body)"/>
                <a:cs typeface="Arial" pitchFamily="34" charset="0"/>
              </a:rPr>
              <a:t>Agile Tools</a:t>
            </a:r>
            <a:r>
              <a:rPr lang="en-IN" sz="1050" dirty="0">
                <a:solidFill>
                  <a:srgbClr val="000000"/>
                </a:solidFill>
                <a:latin typeface="EYInterstate Light (Body)"/>
                <a:cs typeface="Arial" pitchFamily="34" charset="0"/>
              </a:rPr>
              <a:t>: JIRA, Confluence</a:t>
            </a:r>
          </a:p>
          <a:p>
            <a:pPr marL="0" lvl="1" indent="0" defTabSz="791924">
              <a:spcBef>
                <a:spcPts val="0"/>
              </a:spcBef>
              <a:buClr>
                <a:srgbClr val="FFE600"/>
              </a:buClr>
              <a:buSzPct val="100000"/>
              <a:buNone/>
              <a:tabLst>
                <a:tab pos="2566083" algn="l"/>
                <a:tab pos="3707826" algn="r"/>
              </a:tabLst>
              <a:defRPr/>
            </a:pPr>
            <a:br>
              <a:rPr lang="en-IN" sz="1000" dirty="0">
                <a:solidFill>
                  <a:srgbClr val="000000"/>
                </a:solidFill>
                <a:latin typeface="EYInterstate Light (Body)"/>
                <a:cs typeface="Arial" pitchFamily="34" charset="0"/>
              </a:rPr>
            </a:br>
            <a:endParaRPr lang="en-IN" sz="1000" dirty="0">
              <a:solidFill>
                <a:srgbClr val="000000"/>
              </a:solidFill>
              <a:latin typeface="EYInterstate Light (Body)"/>
              <a:cs typeface="Arial" pitchFamily="34" charset="0"/>
            </a:endParaRPr>
          </a:p>
        </p:txBody>
      </p:sp>
      <p:sp>
        <p:nvSpPr>
          <p:cNvPr id="35" name="Text Placeholder 23">
            <a:extLst>
              <a:ext uri="{FF2B5EF4-FFF2-40B4-BE49-F238E27FC236}">
                <a16:creationId xmlns:a16="http://schemas.microsoft.com/office/drawing/2014/main" id="{F8F97A35-8E07-4FAE-93E3-3A3F5EC9D6DA}"/>
              </a:ext>
            </a:extLst>
          </p:cNvPr>
          <p:cNvSpPr txBox="1">
            <a:spLocks/>
          </p:cNvSpPr>
          <p:nvPr/>
        </p:nvSpPr>
        <p:spPr>
          <a:xfrm>
            <a:off x="4320076" y="4890322"/>
            <a:ext cx="3570335" cy="2047919"/>
          </a:xfrm>
        </p:spPr>
        <p:txBody>
          <a:bodyPr/>
          <a:lstStyle>
            <a:lvl1pPr marL="0" indent="0" algn="l" defTabSz="913943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None/>
              <a:defRPr sz="11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1pPr>
            <a:lvl2pPr marL="220663" indent="-220663" algn="l" defTabSz="913943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tabLst/>
              <a:defRPr sz="11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2pPr>
            <a:lvl3pPr marL="400050" indent="-171450" algn="l" defTabSz="913943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EYInterstate Light" panose="02000506000000020004" pitchFamily="2" charset="0"/>
              <a:buChar char="−"/>
              <a:defRPr sz="11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3pPr>
            <a:lvl4pPr marL="625475" indent="-168275" algn="l" defTabSz="913943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1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4pPr>
            <a:lvl5pPr marL="914400" indent="-288925" algn="l" defTabSz="913943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1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5pPr>
            <a:lvl6pPr marL="2513343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314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286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4257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1" indent="0" algn="just" defTabSz="913943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FFE600"/>
              </a:buClr>
              <a:buSzPct val="70000"/>
              <a:buFont typeface="Arial" pitchFamily="34" charset="0"/>
              <a:buNone/>
              <a:tabLst/>
              <a:defRPr/>
            </a:pPr>
            <a:endParaRPr kumimoji="0" lang="en-IN" sz="88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EYInterstate Light (Body)"/>
              <a:ea typeface="+mn-ea"/>
              <a:cs typeface="Arial" pitchFamily="34" charset="0"/>
            </a:endParaRPr>
          </a:p>
        </p:txBody>
      </p: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C189914B-A467-43E2-8B2A-2CF3861470B1}"/>
              </a:ext>
            </a:extLst>
          </p:cNvPr>
          <p:cNvCxnSpPr>
            <a:cxnSpLocks/>
          </p:cNvCxnSpPr>
          <p:nvPr/>
        </p:nvCxnSpPr>
        <p:spPr>
          <a:xfrm>
            <a:off x="3837147" y="1619666"/>
            <a:ext cx="0" cy="5062781"/>
          </a:xfrm>
          <a:prstGeom prst="line">
            <a:avLst/>
          </a:prstGeom>
          <a:ln w="9525">
            <a:solidFill>
              <a:schemeClr val="bg1">
                <a:lumMod val="20000"/>
                <a:lumOff val="80000"/>
              </a:schemeClr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Text Placeholder 23">
            <a:extLst>
              <a:ext uri="{FF2B5EF4-FFF2-40B4-BE49-F238E27FC236}">
                <a16:creationId xmlns:a16="http://schemas.microsoft.com/office/drawing/2014/main" id="{543BDE04-2175-4980-90C0-53F83F17C0E3}"/>
              </a:ext>
            </a:extLst>
          </p:cNvPr>
          <p:cNvSpPr txBox="1">
            <a:spLocks/>
          </p:cNvSpPr>
          <p:nvPr/>
        </p:nvSpPr>
        <p:spPr>
          <a:xfrm>
            <a:off x="91230" y="3604407"/>
            <a:ext cx="3294351" cy="546650"/>
          </a:xfrm>
        </p:spPr>
        <p:txBody>
          <a:bodyPr/>
          <a:lstStyle>
            <a:lvl1pPr marL="0" indent="0" algn="l" defTabSz="913943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None/>
              <a:defRPr sz="11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1pPr>
            <a:lvl2pPr marL="220663" indent="-220663" algn="l" defTabSz="913943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tabLst/>
              <a:defRPr sz="11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2pPr>
            <a:lvl3pPr marL="400050" indent="-171450" algn="l" defTabSz="913943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EYInterstate Light" panose="02000506000000020004" pitchFamily="2" charset="0"/>
              <a:buChar char="−"/>
              <a:defRPr sz="11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3pPr>
            <a:lvl4pPr marL="625475" indent="-168275" algn="l" defTabSz="913943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1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4pPr>
            <a:lvl5pPr marL="914400" indent="-288925" algn="l" defTabSz="913943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1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5pPr>
            <a:lvl6pPr marL="2513343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314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286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4257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1" indent="0" algn="just" defTabSz="913943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FFE600"/>
              </a:buClr>
              <a:buSzPct val="70000"/>
              <a:buFont typeface="Arial" pitchFamily="34" charset="0"/>
              <a:buNone/>
              <a:tabLst/>
              <a:defRPr/>
            </a:pPr>
            <a:r>
              <a:rPr kumimoji="0" lang="en-IN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YInterstate" panose="02000503020000020004" pitchFamily="2" charset="0"/>
                <a:ea typeface="+mn-ea"/>
                <a:cs typeface="Arial" pitchFamily="34" charset="0"/>
              </a:rPr>
              <a:t>Education</a:t>
            </a:r>
          </a:p>
          <a:p>
            <a:pPr marL="141299" marR="0" lvl="1" indent="-141299" defTabSz="791924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FFE600"/>
              </a:buClr>
              <a:buSzPct val="100000"/>
              <a:buFont typeface="EYInterstate" pitchFamily="2" charset="0"/>
              <a:buChar char="•"/>
              <a:tabLst>
                <a:tab pos="2566083" algn="l"/>
                <a:tab pos="3707826" algn="r"/>
              </a:tabLst>
              <a:defRPr/>
            </a:pPr>
            <a:r>
              <a:rPr lang="en-GB" sz="1050" dirty="0">
                <a:solidFill>
                  <a:schemeClr val="bg1">
                    <a:lumMod val="75000"/>
                  </a:schemeClr>
                </a:solidFill>
                <a:latin typeface="EYInterstate Light (Body)"/>
                <a:cs typeface="Arial" pitchFamily="34" charset="0"/>
              </a:rPr>
              <a:t>Holds </a:t>
            </a:r>
            <a:r>
              <a:rPr lang="en-US" sz="1050" dirty="0">
                <a:solidFill>
                  <a:schemeClr val="bg1">
                    <a:lumMod val="75000"/>
                  </a:schemeClr>
                </a:solidFill>
                <a:latin typeface="EYInterstate Light (Body)"/>
                <a:cs typeface="Arial" pitchFamily="34" charset="0"/>
              </a:rPr>
              <a:t>a Bachelor degree in Computer Science from KIIT UNIVERSITY</a:t>
            </a:r>
            <a:endParaRPr lang="en-IN" sz="1050" dirty="0">
              <a:solidFill>
                <a:schemeClr val="bg1">
                  <a:lumMod val="75000"/>
                </a:schemeClr>
              </a:solidFill>
              <a:latin typeface="EYInterstate Light (Body)"/>
              <a:cs typeface="Arial" pitchFamily="34" charset="0"/>
            </a:endParaRPr>
          </a:p>
        </p:txBody>
      </p: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048FE99B-C3FD-43C4-AA4C-FE4DB3229349}"/>
              </a:ext>
            </a:extLst>
          </p:cNvPr>
          <p:cNvCxnSpPr>
            <a:cxnSpLocks/>
          </p:cNvCxnSpPr>
          <p:nvPr/>
        </p:nvCxnSpPr>
        <p:spPr>
          <a:xfrm>
            <a:off x="126641" y="4225923"/>
            <a:ext cx="3578943" cy="0"/>
          </a:xfrm>
          <a:prstGeom prst="line">
            <a:avLst/>
          </a:prstGeom>
          <a:ln w="9525">
            <a:solidFill>
              <a:schemeClr val="bg1">
                <a:lumMod val="20000"/>
                <a:lumOff val="80000"/>
              </a:schemeClr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9" name="Table 8">
            <a:extLst>
              <a:ext uri="{FF2B5EF4-FFF2-40B4-BE49-F238E27FC236}">
                <a16:creationId xmlns:a16="http://schemas.microsoft.com/office/drawing/2014/main" id="{F7E3828E-72E6-FED0-354C-B8A71EDC416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75172806"/>
              </p:ext>
            </p:extLst>
          </p:nvPr>
        </p:nvGraphicFramePr>
        <p:xfrm>
          <a:off x="3078480" y="-143089"/>
          <a:ext cx="6431280" cy="1684020"/>
        </p:xfrm>
        <a:graphic>
          <a:graphicData uri="http://schemas.openxmlformats.org/drawingml/2006/table">
            <a:tbl>
              <a:tblPr firstRow="1" bandRow="1"/>
              <a:tblGrid>
                <a:gridCol w="1354916">
                  <a:extLst>
                    <a:ext uri="{9D8B030D-6E8A-4147-A177-3AD203B41FA5}">
                      <a16:colId xmlns:a16="http://schemas.microsoft.com/office/drawing/2014/main" val="2488110130"/>
                    </a:ext>
                  </a:extLst>
                </a:gridCol>
                <a:gridCol w="132204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820304">
                  <a:extLst>
                    <a:ext uri="{9D8B030D-6E8A-4147-A177-3AD203B41FA5}">
                      <a16:colId xmlns:a16="http://schemas.microsoft.com/office/drawing/2014/main" val="3902652165"/>
                    </a:ext>
                  </a:extLst>
                </a:gridCol>
                <a:gridCol w="1934019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222077">
                <a:tc gridSpan="4">
                  <a:txBody>
                    <a:bodyPr/>
                    <a:lstStyle>
                      <a:lvl1pPr marL="0" algn="l" defTabSz="913943" rtl="0" eaLnBrk="1" latinLnBrk="0" hangingPunct="1">
                        <a:defRPr sz="1799" b="1" kern="1200">
                          <a:solidFill>
                            <a:schemeClr val="bg1"/>
                          </a:solidFill>
                          <a:latin typeface="Arial"/>
                        </a:defRPr>
                      </a:lvl1pPr>
                      <a:lvl2pPr marL="456971" algn="l" defTabSz="913943" rtl="0" eaLnBrk="1" latinLnBrk="0" hangingPunct="1">
                        <a:defRPr sz="1799" b="1" kern="1200">
                          <a:solidFill>
                            <a:schemeClr val="bg1"/>
                          </a:solidFill>
                          <a:latin typeface="Arial"/>
                        </a:defRPr>
                      </a:lvl2pPr>
                      <a:lvl3pPr marL="913943" algn="l" defTabSz="913943" rtl="0" eaLnBrk="1" latinLnBrk="0" hangingPunct="1">
                        <a:defRPr sz="1799" b="1" kern="1200">
                          <a:solidFill>
                            <a:schemeClr val="bg1"/>
                          </a:solidFill>
                          <a:latin typeface="Arial"/>
                        </a:defRPr>
                      </a:lvl3pPr>
                      <a:lvl4pPr marL="1370914" algn="l" defTabSz="913943" rtl="0" eaLnBrk="1" latinLnBrk="0" hangingPunct="1">
                        <a:defRPr sz="1799" b="1" kern="1200">
                          <a:solidFill>
                            <a:schemeClr val="bg1"/>
                          </a:solidFill>
                          <a:latin typeface="Arial"/>
                        </a:defRPr>
                      </a:lvl4pPr>
                      <a:lvl5pPr marL="1827886" algn="l" defTabSz="913943" rtl="0" eaLnBrk="1" latinLnBrk="0" hangingPunct="1">
                        <a:defRPr sz="1799" b="1" kern="1200">
                          <a:solidFill>
                            <a:schemeClr val="bg1"/>
                          </a:solidFill>
                          <a:latin typeface="Arial"/>
                        </a:defRPr>
                      </a:lvl5pPr>
                      <a:lvl6pPr marL="2284857" algn="l" defTabSz="913943" rtl="0" eaLnBrk="1" latinLnBrk="0" hangingPunct="1">
                        <a:defRPr sz="1799" b="1" kern="1200">
                          <a:solidFill>
                            <a:schemeClr val="bg1"/>
                          </a:solidFill>
                          <a:latin typeface="Arial"/>
                        </a:defRPr>
                      </a:lvl6pPr>
                      <a:lvl7pPr marL="2741828" algn="l" defTabSz="913943" rtl="0" eaLnBrk="1" latinLnBrk="0" hangingPunct="1">
                        <a:defRPr sz="1799" b="1" kern="1200">
                          <a:solidFill>
                            <a:schemeClr val="bg1"/>
                          </a:solidFill>
                          <a:latin typeface="Arial"/>
                        </a:defRPr>
                      </a:lvl7pPr>
                      <a:lvl8pPr marL="3198800" algn="l" defTabSz="913943" rtl="0" eaLnBrk="1" latinLnBrk="0" hangingPunct="1">
                        <a:defRPr sz="1799" b="1" kern="1200">
                          <a:solidFill>
                            <a:schemeClr val="bg1"/>
                          </a:solidFill>
                          <a:latin typeface="Arial"/>
                        </a:defRPr>
                      </a:lvl8pPr>
                      <a:lvl9pPr marL="3655771" algn="l" defTabSz="913943" rtl="0" eaLnBrk="1" latinLnBrk="0" hangingPunct="1">
                        <a:defRPr sz="1799" b="1" kern="1200">
                          <a:solidFill>
                            <a:schemeClr val="bg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en-IN" sz="1050" b="0" dirty="0">
                          <a:solidFill>
                            <a:schemeClr val="tx1"/>
                          </a:solidFill>
                          <a:latin typeface="EYInterstate" panose="02000503020000020004" pitchFamily="2" charset="0"/>
                        </a:rPr>
                        <a:t>Functional/Technical Competency</a:t>
                      </a:r>
                    </a:p>
                  </a:txBody>
                  <a:tcPr>
                    <a:lnL w="3175" cap="flat" cmpd="sng" algn="ctr">
                      <a:solidFill>
                        <a:schemeClr val="bg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IN" sz="850" b="0" dirty="0">
                        <a:solidFill>
                          <a:schemeClr val="tx1"/>
                        </a:solidFill>
                        <a:latin typeface="EYInterstate" panose="02000503020000020004" pitchFamily="2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 sz="850" b="0" dirty="0">
                        <a:solidFill>
                          <a:schemeClr val="tx1"/>
                        </a:solidFill>
                        <a:latin typeface="EYInterstate" panose="02000503020000020004" pitchFamily="2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15348">
                <a:tc>
                  <a:txBody>
                    <a:bodyPr/>
                    <a:lstStyle>
                      <a:lvl1pPr marL="0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6971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3943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0914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7886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4857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1828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198800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5771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en-IN" sz="1000" b="1" dirty="0">
                          <a:solidFill>
                            <a:schemeClr val="tx1"/>
                          </a:solidFill>
                          <a:latin typeface="EYInterstate" panose="02000503020000020004" pitchFamily="2" charset="0"/>
                        </a:rPr>
                        <a:t>AI/ML</a:t>
                      </a:r>
                    </a:p>
                  </a:txBody>
                  <a:tcPr>
                    <a:lnL w="3175" cap="flat" cmpd="sng" algn="ctr">
                      <a:solidFill>
                        <a:schemeClr val="bg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6971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3943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0914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7886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4857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1828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198800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5771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en-IN" sz="1000" b="1" dirty="0">
                          <a:latin typeface="EYInterstate" panose="02000503020000020004" pitchFamily="2" charset="0"/>
                        </a:rPr>
                        <a:t>DevOps (CI/CD)</a:t>
                      </a:r>
                      <a:endParaRPr lang="en-IN" sz="1000" b="1" dirty="0">
                        <a:solidFill>
                          <a:schemeClr val="tx1"/>
                        </a:solidFill>
                        <a:latin typeface="EYInterstate" panose="02000503020000020004" pitchFamily="2" charset="0"/>
                      </a:endParaRPr>
                    </a:p>
                  </a:txBody>
                  <a:tcPr>
                    <a:lnL w="3175" cap="flat" cmpd="sng" algn="ctr">
                      <a:solidFill>
                        <a:schemeClr val="bg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6971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3943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0914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7886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4857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1828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198800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5771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1000" b="1" dirty="0">
                          <a:solidFill>
                            <a:schemeClr val="tx1"/>
                          </a:solidFill>
                          <a:latin typeface="EYInterstate" panose="02000503020000020004" pitchFamily="2" charset="0"/>
                        </a:rPr>
                        <a:t>Cloud &amp; Infrastructure</a:t>
                      </a:r>
                    </a:p>
                  </a:txBody>
                  <a:tcPr>
                    <a:lnL w="3175" cap="flat" cmpd="sng" algn="ctr">
                      <a:solidFill>
                        <a:schemeClr val="bg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6971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3943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0914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7886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4857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1828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198800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5771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en-IN" sz="1000" b="1" dirty="0">
                          <a:solidFill>
                            <a:schemeClr val="tx1"/>
                          </a:solidFill>
                          <a:latin typeface="EYInterstate" panose="02000503020000020004" pitchFamily="2" charset="0"/>
                        </a:rPr>
                        <a:t>Application Development</a:t>
                      </a:r>
                    </a:p>
                  </a:txBody>
                  <a:tcPr>
                    <a:lnL w="3175" cap="flat" cmpd="sng" algn="ctr">
                      <a:solidFill>
                        <a:schemeClr val="bg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049819">
                <a:tc>
                  <a:txBody>
                    <a:bodyPr/>
                    <a:lstStyle>
                      <a:lvl1pPr marL="0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6971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3943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0914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7886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4857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1828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198800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5771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en-IN" sz="900" b="1" dirty="0">
                          <a:solidFill>
                            <a:schemeClr val="tx1"/>
                          </a:solidFill>
                          <a:latin typeface="EYInterstate" panose="02000503020000020004" pitchFamily="2" charset="0"/>
                        </a:rPr>
                        <a:t>Deep Learning,</a:t>
                      </a:r>
                    </a:p>
                    <a:p>
                      <a:endParaRPr lang="en-IN" sz="900" b="1" dirty="0">
                        <a:solidFill>
                          <a:schemeClr val="tx1"/>
                        </a:solidFill>
                        <a:latin typeface="EYInterstate" panose="02000503020000020004" pitchFamily="2" charset="0"/>
                      </a:endParaRPr>
                    </a:p>
                    <a:p>
                      <a:r>
                        <a:rPr lang="en-IN" sz="900" b="1" dirty="0">
                          <a:solidFill>
                            <a:schemeClr val="tx1"/>
                          </a:solidFill>
                          <a:latin typeface="EYInterstate" panose="02000503020000020004" pitchFamily="2" charset="0"/>
                        </a:rPr>
                        <a:t>NLP , Computer Vision</a:t>
                      </a:r>
                    </a:p>
                    <a:p>
                      <a:endParaRPr lang="en-IN" sz="900" b="1" dirty="0">
                        <a:solidFill>
                          <a:schemeClr val="tx1"/>
                        </a:solidFill>
                        <a:latin typeface="EYInterstate" panose="02000503020000020004" pitchFamily="2" charset="0"/>
                      </a:endParaRPr>
                    </a:p>
                    <a:p>
                      <a:r>
                        <a:rPr lang="en-IN" sz="900" b="1" dirty="0">
                          <a:solidFill>
                            <a:schemeClr val="tx1"/>
                          </a:solidFill>
                          <a:latin typeface="EYInterstate" panose="02000503020000020004" pitchFamily="2" charset="0"/>
                        </a:rPr>
                        <a:t>Generative AI</a:t>
                      </a:r>
                    </a:p>
                  </a:txBody>
                  <a:tcPr>
                    <a:lnL w="3175" cap="flat" cmpd="sng" algn="ctr">
                      <a:solidFill>
                        <a:schemeClr val="bg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6971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3943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0914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7886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4857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1828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198800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5771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en-IN" sz="900" b="1" dirty="0">
                          <a:solidFill>
                            <a:schemeClr val="tx1"/>
                          </a:solidFill>
                          <a:latin typeface="EYInterstate" panose="02000503020000020004" pitchFamily="2" charset="0"/>
                        </a:rPr>
                        <a:t>GitHub Actions,</a:t>
                      </a:r>
                      <a:br>
                        <a:rPr lang="en-IN" sz="900" b="1" dirty="0">
                          <a:solidFill>
                            <a:schemeClr val="tx1"/>
                          </a:solidFill>
                          <a:latin typeface="EYInterstate" panose="02000503020000020004" pitchFamily="2" charset="0"/>
                        </a:rPr>
                      </a:br>
                      <a:br>
                        <a:rPr lang="en-IN" sz="900" b="1" dirty="0">
                          <a:solidFill>
                            <a:schemeClr val="tx1"/>
                          </a:solidFill>
                          <a:latin typeface="EYInterstate" panose="02000503020000020004" pitchFamily="2" charset="0"/>
                        </a:rPr>
                      </a:br>
                      <a:r>
                        <a:rPr lang="en-IN" sz="900" b="1" dirty="0">
                          <a:solidFill>
                            <a:schemeClr val="tx1"/>
                          </a:solidFill>
                          <a:latin typeface="EYInterstate" panose="02000503020000020004" pitchFamily="2" charset="0"/>
                        </a:rPr>
                        <a:t>Terraform , Ansible</a:t>
                      </a:r>
                      <a:br>
                        <a:rPr lang="en-IN" sz="900" b="1" dirty="0">
                          <a:solidFill>
                            <a:schemeClr val="tx1"/>
                          </a:solidFill>
                          <a:latin typeface="EYInterstate" panose="02000503020000020004" pitchFamily="2" charset="0"/>
                        </a:rPr>
                      </a:br>
                      <a:br>
                        <a:rPr lang="en-IN" sz="900" b="1" dirty="0">
                          <a:solidFill>
                            <a:schemeClr val="tx1"/>
                          </a:solidFill>
                          <a:latin typeface="EYInterstate" panose="02000503020000020004" pitchFamily="2" charset="0"/>
                        </a:rPr>
                      </a:br>
                      <a:r>
                        <a:rPr lang="en-IN" sz="900" b="1" dirty="0">
                          <a:solidFill>
                            <a:schemeClr val="tx1"/>
                          </a:solidFill>
                          <a:latin typeface="EYInterstate" panose="02000503020000020004" pitchFamily="2" charset="0"/>
                        </a:rPr>
                        <a:t>Azure DevOps</a:t>
                      </a:r>
                    </a:p>
                  </a:txBody>
                  <a:tcPr>
                    <a:lnL w="3175" cap="flat" cmpd="sng" algn="ctr">
                      <a:solidFill>
                        <a:schemeClr val="bg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6971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3943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0914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7886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4857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1828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198800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5771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en-IN" sz="900" b="1" dirty="0">
                          <a:solidFill>
                            <a:schemeClr val="tx1"/>
                          </a:solidFill>
                          <a:latin typeface="EYInterstate" panose="02000503020000020004" pitchFamily="2" charset="0"/>
                        </a:rPr>
                        <a:t>AWS , Azure</a:t>
                      </a:r>
                      <a:br>
                        <a:rPr lang="en-IN" sz="900" b="1" dirty="0">
                          <a:solidFill>
                            <a:schemeClr val="tx1"/>
                          </a:solidFill>
                          <a:latin typeface="EYInterstate" panose="02000503020000020004" pitchFamily="2" charset="0"/>
                        </a:rPr>
                      </a:br>
                      <a:br>
                        <a:rPr lang="en-IN" sz="900" b="1" dirty="0">
                          <a:solidFill>
                            <a:schemeClr val="tx1"/>
                          </a:solidFill>
                          <a:latin typeface="EYInterstate" panose="02000503020000020004" pitchFamily="2" charset="0"/>
                        </a:rPr>
                      </a:br>
                      <a:r>
                        <a:rPr lang="en-IN" sz="900" b="1" dirty="0">
                          <a:solidFill>
                            <a:schemeClr val="tx1"/>
                          </a:solidFill>
                          <a:latin typeface="EYInterstate" panose="02000503020000020004" pitchFamily="2" charset="0"/>
                        </a:rPr>
                        <a:t>Kubernetes</a:t>
                      </a:r>
                    </a:p>
                    <a:p>
                      <a:endParaRPr lang="en-IN" sz="900" b="1" dirty="0">
                        <a:solidFill>
                          <a:schemeClr val="tx1"/>
                        </a:solidFill>
                        <a:latin typeface="EYInterstate" panose="02000503020000020004" pitchFamily="2" charset="0"/>
                      </a:endParaRPr>
                    </a:p>
                    <a:p>
                      <a:r>
                        <a:rPr lang="en-IN" sz="900" b="1" dirty="0">
                          <a:solidFill>
                            <a:schemeClr val="tx1"/>
                          </a:solidFill>
                          <a:latin typeface="EYInterstate" panose="02000503020000020004" pitchFamily="2" charset="0"/>
                        </a:rPr>
                        <a:t>Docker</a:t>
                      </a:r>
                      <a:br>
                        <a:rPr lang="en-IN" sz="900" b="0" dirty="0">
                          <a:solidFill>
                            <a:schemeClr val="tx1"/>
                          </a:solidFill>
                          <a:latin typeface="EYInterstate" panose="02000503020000020004" pitchFamily="2" charset="0"/>
                        </a:rPr>
                      </a:br>
                      <a:br>
                        <a:rPr lang="en-IN" sz="900" b="0" dirty="0">
                          <a:solidFill>
                            <a:schemeClr val="tx1"/>
                          </a:solidFill>
                          <a:latin typeface="EYInterstate" panose="02000503020000020004" pitchFamily="2" charset="0"/>
                        </a:rPr>
                      </a:br>
                      <a:br>
                        <a:rPr lang="en-IN" sz="900" b="0" dirty="0">
                          <a:solidFill>
                            <a:schemeClr val="tx1"/>
                          </a:solidFill>
                          <a:latin typeface="EYInterstate" panose="02000503020000020004" pitchFamily="2" charset="0"/>
                        </a:rPr>
                      </a:br>
                      <a:endParaRPr lang="en-IN" sz="900" b="0" dirty="0">
                        <a:solidFill>
                          <a:schemeClr val="tx1"/>
                        </a:solidFill>
                        <a:latin typeface="EYInterstate" panose="02000503020000020004" pitchFamily="2" charset="0"/>
                      </a:endParaRPr>
                    </a:p>
                  </a:txBody>
                  <a:tcPr>
                    <a:lnL w="3175" cap="flat" cmpd="sng" algn="ctr">
                      <a:solidFill>
                        <a:schemeClr val="bg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6971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3943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0914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7886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4857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1828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198800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5771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900" b="1" dirty="0">
                          <a:latin typeface="EYInterstate" panose="02000503020000020004" pitchFamily="2" charset="0"/>
                        </a:rPr>
                        <a:t>Django , Flask</a:t>
                      </a:r>
                      <a:br>
                        <a:rPr lang="en-IN" sz="900" b="1" dirty="0">
                          <a:latin typeface="EYInterstate" panose="02000503020000020004" pitchFamily="2" charset="0"/>
                        </a:rPr>
                      </a:br>
                      <a:endParaRPr lang="en-IN" sz="900" b="1" dirty="0">
                        <a:latin typeface="EYInterstate" panose="02000503020000020004" pitchFamily="2" charset="0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900" b="1" dirty="0">
                          <a:latin typeface="EYInterstate" panose="02000503020000020004" pitchFamily="2" charset="0"/>
                        </a:rPr>
                        <a:t>Spring Boot Framework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IN" sz="900" b="1" dirty="0">
                        <a:latin typeface="EYInterstate" panose="02000503020000020004" pitchFamily="2" charset="0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IN" sz="900" b="1" dirty="0">
                        <a:latin typeface="EYInterstate" panose="02000503020000020004" pitchFamily="2" charset="0"/>
                      </a:endParaRPr>
                    </a:p>
                  </a:txBody>
                  <a:tcPr>
                    <a:lnL w="3175" cap="flat" cmpd="sng" algn="ctr">
                      <a:solidFill>
                        <a:schemeClr val="bg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pic>
        <p:nvPicPr>
          <p:cNvPr id="4" name="Picture 3" descr="A picture containing text, sign, outdoor&#10;&#10;Description automatically generated">
            <a:extLst>
              <a:ext uri="{FF2B5EF4-FFF2-40B4-BE49-F238E27FC236}">
                <a16:creationId xmlns:a16="http://schemas.microsoft.com/office/drawing/2014/main" id="{B6EA7F4A-A383-AFD5-C0B6-8BBE55D2E33F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56459" y="95162"/>
            <a:ext cx="1215570" cy="1215570"/>
          </a:xfrm>
          <a:prstGeom prst="rect">
            <a:avLst/>
          </a:prstGeom>
        </p:spPr>
      </p:pic>
      <p:pic>
        <p:nvPicPr>
          <p:cNvPr id="6" name="Picture 5" descr="Graphical user interface, application, Teams&#10;&#10;Description automatically generated">
            <a:extLst>
              <a:ext uri="{FF2B5EF4-FFF2-40B4-BE49-F238E27FC236}">
                <a16:creationId xmlns:a16="http://schemas.microsoft.com/office/drawing/2014/main" id="{6C144CE5-59EA-7AB8-CA6C-EE5C78B43E3D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72029" y="219070"/>
            <a:ext cx="1091662" cy="10916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3641777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MASTER SLIDES">
  <a:themeElements>
    <a:clrScheme name="Custom 8">
      <a:dk1>
        <a:srgbClr val="FFFFFF"/>
      </a:dk1>
      <a:lt1>
        <a:srgbClr val="2E2E38"/>
      </a:lt1>
      <a:dk2>
        <a:srgbClr val="FFE600"/>
      </a:dk2>
      <a:lt2>
        <a:srgbClr val="000000"/>
      </a:lt2>
      <a:accent1>
        <a:srgbClr val="2DB757"/>
      </a:accent1>
      <a:accent2>
        <a:srgbClr val="27ACAA"/>
      </a:accent2>
      <a:accent3>
        <a:srgbClr val="188CE5"/>
      </a:accent3>
      <a:accent4>
        <a:srgbClr val="3D108A"/>
      </a:accent4>
      <a:accent5>
        <a:srgbClr val="FF4136"/>
      </a:accent5>
      <a:accent6>
        <a:srgbClr val="FF6D00"/>
      </a:accent6>
      <a:hlink>
        <a:srgbClr val="0000FF"/>
      </a:hlink>
      <a:folHlink>
        <a:srgbClr val="800080"/>
      </a:folHlink>
    </a:clrScheme>
    <a:fontScheme name="Custom 1">
      <a:majorFont>
        <a:latin typeface="EYInterstate Light"/>
        <a:ea typeface=""/>
        <a:cs typeface=""/>
      </a:majorFont>
      <a:minorFont>
        <a:latin typeface="EYInterstate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9525">
          <a:solidFill>
            <a:schemeClr val="accent1"/>
          </a:solidFill>
        </a:ln>
      </a:spPr>
      <a:bodyPr rtlCol="0" anchor="t" anchorCtr="0"/>
      <a:lstStyle>
        <a:defPPr algn="ctr">
          <a:defRPr sz="1200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36576" rIns="0" bIns="0" rtlCol="0">
        <a:spAutoFit/>
      </a:bodyPr>
      <a:lstStyle>
        <a:defPPr marL="356616" indent="-356616">
          <a:lnSpc>
            <a:spcPct val="85000"/>
          </a:lnSpc>
          <a:spcAft>
            <a:spcPts val="600"/>
          </a:spcAft>
          <a:buClr>
            <a:schemeClr val="accent2"/>
          </a:buClr>
          <a:buSzPct val="70000"/>
          <a:buFont typeface="Arial" pitchFamily="34" charset="0"/>
          <a:buChar char="►"/>
          <a:defRPr sz="1200" dirty="0" err="1" smtClean="0">
            <a:solidFill>
              <a:schemeClr val="bg1"/>
            </a:solidFill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452</TotalTime>
  <Words>533</Words>
  <Application>Microsoft Office PowerPoint</Application>
  <PresentationFormat>Widescreen</PresentationFormat>
  <Paragraphs>58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10" baseType="lpstr">
      <vt:lpstr>Arial</vt:lpstr>
      <vt:lpstr>Arial Unicode MS</vt:lpstr>
      <vt:lpstr>Calibri</vt:lpstr>
      <vt:lpstr>EYInterstate</vt:lpstr>
      <vt:lpstr>EYInterstate Light</vt:lpstr>
      <vt:lpstr>EYInterstate Light (Body)</vt:lpstr>
      <vt:lpstr>Wingdings</vt:lpstr>
      <vt:lpstr>MASTER SLIDES</vt:lpstr>
      <vt:lpstr>think-cell Slide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Tanu Garg</dc:creator>
  <cp:lastModifiedBy>Prithwish Mandal</cp:lastModifiedBy>
  <cp:revision>11</cp:revision>
  <dcterms:created xsi:type="dcterms:W3CDTF">2023-06-14T16:28:56Z</dcterms:created>
  <dcterms:modified xsi:type="dcterms:W3CDTF">2025-02-27T20:58:30Z</dcterms:modified>
</cp:coreProperties>
</file>